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vtt" ContentType="text/vt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notesSlides/notesSlide5.xml" ContentType="application/vnd.openxmlformats-officedocument.presentationml.notesSlide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455" r:id="rId2"/>
    <p:sldId id="257" r:id="rId3"/>
    <p:sldId id="471" r:id="rId4"/>
    <p:sldId id="444" r:id="rId5"/>
    <p:sldId id="426" r:id="rId6"/>
    <p:sldId id="466" r:id="rId7"/>
    <p:sldId id="461" r:id="rId8"/>
    <p:sldId id="432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745D2C-3BAD-D27B-660E-4FD74064235A}" name="Carol Gilmore" initials="CG" userId="S::cgilmore@eatright.org::2cd4488a-452a-4efe-8d65-b97c20740a5e" providerId="AD"/>
  <p188:author id="{AB1C663F-5D58-B353-8B28-E408C5B3173E}" name="Karen Hui" initials="KH" userId="S::khui@eatright.org::209a7f13-bf4c-4b94-bcae-287face50b6b" providerId="AD"/>
  <p188:author id="{298403AB-B81F-98C4-8BC5-2A973504D14C}" name="Dana Buelsing Sowards" initials="DB" userId="S::dbuelsing@eatright.org::6994d87b-ee56-43d4-b5c3-7d5fdc8931d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mapathy A" initials="UA" lastIdx="1" clrIdx="0">
    <p:extLst>
      <p:ext uri="{19B8F6BF-5375-455C-9EA6-DF929625EA0E}">
        <p15:presenceInfo xmlns:p15="http://schemas.microsoft.com/office/powerpoint/2012/main" userId="dbb2ea3d258b902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1F1"/>
    <a:srgbClr val="95006C"/>
    <a:srgbClr val="FFA3E5"/>
    <a:srgbClr val="4C7F72"/>
    <a:srgbClr val="F0EADA"/>
    <a:srgbClr val="0EB0C6"/>
    <a:srgbClr val="2799D0"/>
    <a:srgbClr val="3680E6"/>
    <a:srgbClr val="5663EF"/>
    <a:srgbClr val="6D2C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35" autoAdjust="0"/>
    <p:restoredTop sz="79535" autoAdjust="0"/>
  </p:normalViewPr>
  <p:slideViewPr>
    <p:cSldViewPr snapToGrid="0">
      <p:cViewPr varScale="1">
        <p:scale>
          <a:sx n="146" d="100"/>
          <a:sy n="146" d="100"/>
        </p:scale>
        <p:origin x="1600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3468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D42D03-D00F-4A67-8BEA-40CAE8F9A5FB}" type="datetimeFigureOut">
              <a:rPr lang="en-US" smtClean="0"/>
              <a:t>5/21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E5FB05-7973-4976-9484-35AE255D10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062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47624E-7BDA-4BAC-9A22-50FF8C9256CF}" type="datetimeFigureOut">
              <a:rPr lang="en-US" smtClean="0"/>
              <a:t>5/21/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14E1-92E2-4CF4-B31E-063F78A97A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318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ms.gov/files/document/som-appendix.pdf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this video, which is a Practice Tool highlighting topics related to the regulations addressing RDN order writing through privileging in hospital settings or delegated orders in skilled or long-term care facilities or other community settings such as physician offices or clinic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480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u="none" dirty="0">
                <a:solidFill>
                  <a:srgbClr val="FF0000"/>
                </a:solidFill>
                <a:highlight>
                  <a:srgbClr val="FFFF00"/>
                </a:highlight>
              </a:rPr>
              <a:t>This </a:t>
            </a:r>
            <a:r>
              <a:rPr lang="en-US" dirty="0"/>
              <a:t>presentation will highlight how to pursue RDN ordering </a:t>
            </a:r>
            <a:r>
              <a:rPr lang="en-US" u="none" dirty="0"/>
              <a:t>privileges or delegated orders along </a:t>
            </a:r>
            <a:r>
              <a:rPr lang="en-US" dirty="0"/>
              <a:t>with a separate Case Study video that provides a hypothetical example of one hospital’s process where the RDNs do have some ordering privileges just not ones for parenteral or enteral nutrition suppor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579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non-hospital settings, the Long-Term Care Final Rule effective November 2017 would allow an attending physician in a skilled or long-term care facility to delegate diet order writing to a qualified dietitian or other clinically qualified nutrition professional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defined by state la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process would also support physicians in community settings asking RDNs to write orders or can order a physician-initiated protocol, a process often used in a free-standing dialysis center, for exampl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with hospital RDN privileging, it is important to check state laws and regulations to verify there are no barriers to RDNs writing orders in these setting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045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hospitals, the 2014 FINAL RULE provided a significant change for RDNs practicing in hospital settings. Hospitals now have the option of implementing ordering privileges fo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qualified dietitia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clinically qualified nutrition professionals if consistent with state law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ions in the CMS State Operations Manuals for hospitals Appendix A and for critical access hospitals Appendix W were updated to call out qualified dietitians and other clinically qualified nutrition professionals as “non-physician practitioners” eligible for ordering privileg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3191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next slides will go though steps 1-8 on this slide to identify a process to consider to pursue ordering privileges in hospital setting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45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irst, review the hospital regulations. This slide will walk you through where to locate the CMS State Operations Manuals on the CMS website.</a:t>
            </a:r>
          </a:p>
          <a:p>
            <a:r>
              <a:rPr lang="en-US" sz="2400" dirty="0"/>
              <a:t>Access regulations from CMS website at www.cms.gov</a:t>
            </a:r>
            <a:r>
              <a:rPr lang="en-US" dirty="0"/>
              <a:t>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lick on </a:t>
            </a:r>
            <a:r>
              <a:rPr lang="en-US" sz="2000" dirty="0"/>
              <a:t>Medicare</a:t>
            </a:r>
            <a:r>
              <a:rPr lang="en-US" dirty="0"/>
              <a:t> at the top lef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 left column, click on: 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dirty="0"/>
              <a:t>Regulations &amp; Guidance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dirty="0"/>
              <a:t>Manuals – Internet only Manuals in left column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dirty="0"/>
              <a:t>Scroll down to Publication #100-07 State Operations Manua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 list of Chapters, click on SOM Appendix at the top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US" dirty="0"/>
              <a:t>Click on desired manual</a:t>
            </a:r>
          </a:p>
          <a:p>
            <a:pPr lvl="3">
              <a:buFont typeface="Wingdings" panose="05000000000000000000" pitchFamily="2" charset="2"/>
              <a:buChar char="v"/>
            </a:pPr>
            <a:r>
              <a:rPr lang="en-US" dirty="0"/>
              <a:t>A=Hospitals, W=Critical Access Hospitals, PP=Long-Term Care Facilities</a:t>
            </a:r>
          </a:p>
          <a:p>
            <a:pPr lvl="3">
              <a:buFont typeface="Wingdings" panose="05000000000000000000" pitchFamily="2" charset="2"/>
              <a:buChar char="v"/>
            </a:pPr>
            <a:r>
              <a:rPr lang="en-US" dirty="0"/>
              <a:t>H=End-Stage Renal Disease Facilities, M=Hospice, X=Organ Transplant Progra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Don’t forget </a:t>
            </a:r>
            <a:r>
              <a:rPr lang="en-US" dirty="0"/>
              <a:t>– check for any state regulations applicable to any of these settings</a:t>
            </a:r>
          </a:p>
          <a:p>
            <a:endParaRPr lang="en-US" dirty="0"/>
          </a:p>
          <a:p>
            <a:endParaRPr lang="en-US" dirty="0"/>
          </a:p>
          <a:p>
            <a:pPr marR="0" algn="l" rtl="0">
              <a:buFont typeface="Symbol" panose="05050102010706020507" pitchFamily="18" charset="2"/>
              <a:buChar char="·"/>
            </a:pPr>
            <a:r>
              <a:rPr lang="en-US" dirty="0"/>
              <a:t>OR </a:t>
            </a:r>
            <a:r>
              <a:rPr lang="en-US" sz="2000" b="0" i="0" u="none" strike="noStrike" kern="100" baseline="0" dirty="0">
                <a:latin typeface="Times New Roman" panose="02020603050405020304" pitchFamily="18" charset="0"/>
              </a:rPr>
              <a:t>Put link to CMS State Operations Manuals in your computer Bookmarks. Link is at the bottom right of slide.</a:t>
            </a:r>
          </a:p>
          <a:p>
            <a:pPr lvl="2">
              <a:buFont typeface="Symbol" panose="05050102010706020507" pitchFamily="18" charset="2"/>
              <a:buChar char="·"/>
            </a:pPr>
            <a:r>
              <a:rPr lang="en-US" sz="2000" b="0" i="0" u="none" strike="noStrike" kern="100" baseline="0" dirty="0">
                <a:latin typeface="Times New Roman" panose="02020603050405020304" pitchFamily="18" charset="0"/>
              </a:rPr>
              <a:t> </a:t>
            </a:r>
            <a:r>
              <a:rPr lang="en-US" sz="2000" b="0" i="0" u="sng" strike="noStrike" kern="100" baseline="0" dirty="0">
                <a:solidFill>
                  <a:srgbClr val="0000FF"/>
                </a:solidFill>
                <a:latin typeface="Times New Roman" panose="02020603050405020304" pitchFamily="18" charset="0"/>
                <a:hlinkClick r:id="rId3"/>
              </a:rPr>
              <a:t>https://www.cms.gov/files/document/som-appendix.pdf</a:t>
            </a:r>
            <a:endParaRPr lang="en-US" sz="2000" b="0" i="0" u="none" strike="noStrike" kern="100" baseline="0" dirty="0">
              <a:solidFill>
                <a:srgbClr val="0000FF"/>
              </a:solidFill>
              <a:latin typeface="Times New Roman" panose="02020603050405020304" pitchFamily="18" charset="0"/>
              <a:hlinkClick r:id="rId3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4725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is important to periodically check for updates if your hospital does not routinely notify key staff when there are regulation updat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manuals have many pages, so it is time efficient to develop a method for searching sections applicable to dietitians, food and nutrition or other sections of interest. Examples are listed for searching in Appendix A Hospital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etitian could be spelled with a “c” depending on date of the regulation so check by both spelling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ok for wording in RED typ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se tips would apply to any of the State Operations Manuals although for some, foodservice-related regulations may not app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908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k you. If you have any questions, send an email to quality@eatright.org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ease also take the opportunity to review the Practice Tips located in “Navigating Ordering Privileges and Delegated Orders” on the CDR website at www.cdrnet.org/tips that are associated with this presentatio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614E1-92E2-4CF4-B31E-063F78A97A6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290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22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6FDFCEB3-2511-4B47-B86A-AB4006DDB09A}"/>
              </a:ext>
            </a:extLst>
          </p:cNvPr>
          <p:cNvSpPr/>
          <p:nvPr userDrawn="1"/>
        </p:nvSpPr>
        <p:spPr>
          <a:xfrm>
            <a:off x="0" y="2667000"/>
            <a:ext cx="12192000" cy="41909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795" y="1829498"/>
            <a:ext cx="10450413" cy="738664"/>
          </a:xfrm>
        </p:spPr>
        <p:txBody>
          <a:bodyPr vert="horz" wrap="square" anchor="b" anchorCtr="0">
            <a:spAutoFit/>
          </a:bodyPr>
          <a:lstStyle>
            <a:lvl1pPr algn="l"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0795" y="2914795"/>
            <a:ext cx="10450413" cy="141577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1</a:t>
            </a:r>
          </a:p>
          <a:p>
            <a:r>
              <a:rPr lang="en-US" dirty="0"/>
              <a:t>Presenter 2</a:t>
            </a:r>
          </a:p>
          <a:p>
            <a:r>
              <a:rPr lang="en-US" dirty="0"/>
              <a:t>Presenter 3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95FFB44-BF13-4062-A443-4B3AAA1C9A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577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788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BBEAEB-6B14-4DB7-8B2E-4CFC29608D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22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Im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17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BBEAEB-6B14-4DB7-8B2E-4CFC29608D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238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948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8B0F2FB-10C5-4112-B896-675A6CA85197}"/>
              </a:ext>
            </a:extLst>
          </p:cNvPr>
          <p:cNvSpPr/>
          <p:nvPr userDrawn="1"/>
        </p:nvSpPr>
        <p:spPr>
          <a:xfrm>
            <a:off x="0" y="1"/>
            <a:ext cx="12192000" cy="28955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0982" y="1032302"/>
            <a:ext cx="8950036" cy="830997"/>
          </a:xfrm>
        </p:spPr>
        <p:txBody>
          <a:bodyPr vert="horz" wrap="square" anchor="ctr">
            <a:spAutoFit/>
          </a:bodyPr>
          <a:lstStyle>
            <a:lvl1pPr algn="ctr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0618" y="4203236"/>
            <a:ext cx="701076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F7F1E4-011F-4876-B2BA-C86452C785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6844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793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8B0F2FB-10C5-4112-B896-675A6CA85197}"/>
              </a:ext>
            </a:extLst>
          </p:cNvPr>
          <p:cNvSpPr/>
          <p:nvPr userDrawn="1"/>
        </p:nvSpPr>
        <p:spPr>
          <a:xfrm>
            <a:off x="0" y="5714999"/>
            <a:ext cx="12192000" cy="1143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91145" y="1413303"/>
            <a:ext cx="8409710" cy="830997"/>
          </a:xfrm>
        </p:spPr>
        <p:txBody>
          <a:bodyPr vert="horz" wrap="square" anchor="ctr">
            <a:spAutoFit/>
          </a:bodyPr>
          <a:lstStyle>
            <a:lvl1pPr algn="ctr">
              <a:defRPr sz="5400" b="0">
                <a:solidFill>
                  <a:schemeClr val="accent6"/>
                </a:solidFill>
                <a:latin typeface="Myriad Pro Light" panose="020B04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91145" y="2672860"/>
            <a:ext cx="8409710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FF48571-BD12-4A73-9813-F1D0005EB4C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5757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193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845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Layou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249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D0DBD2-AAB3-4703-884A-BFC8BDB33027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: Rounded Corners 10">
            <a:extLst>
              <a:ext uri="{FF2B5EF4-FFF2-40B4-BE49-F238E27FC236}">
                <a16:creationId xmlns:a16="http://schemas.microsoft.com/office/drawing/2014/main" id="{66DFCC6E-B5B5-25A7-1A2B-B91E31531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709057" y="6477000"/>
            <a:ext cx="9701960" cy="9690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bg1">
                  <a:alpha val="6000"/>
                  <a:lumMod val="6551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8508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Layou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0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anchor="ctr" anchorCtr="0">
            <a:spAutoFit/>
          </a:bodyPr>
          <a:lstStyle>
            <a:lvl1pPr>
              <a:defRPr sz="3200" b="0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8E8F3D-FAAA-4F38-AF67-D67A30E77F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7406640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01152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Layout Contras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365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b="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BD285EA-9868-41D1-893E-D98FBA4F6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7404598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DF3BEE-1337-4BD5-BE63-AD1A389004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5BEA9E0-709A-4E93-B64F-A6C4BAA15B0D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C59DC2E-2BE6-4B89-AFB9-F74BEB0B1623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467A5B75-4A01-526A-7A14-EF39D0A59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709057" y="6477000"/>
            <a:ext cx="9701960" cy="9690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bg1">
                  <a:alpha val="6000"/>
                  <a:lumMod val="6551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06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97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944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 with RHS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17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11841" cy="492443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US" sz="3200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11841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197E876-A21D-4C61-B48F-5C64C5E0A2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1504" y="1384614"/>
            <a:ext cx="5511841" cy="1846659"/>
          </a:xfrm>
        </p:spPr>
        <p:txBody>
          <a:bodyPr wrap="square"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53DB5D4-C3B5-40A3-917C-B19EB96F9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61504" y="527632"/>
            <a:ext cx="5511841" cy="492443"/>
          </a:xfrm>
        </p:spPr>
        <p:txBody>
          <a:bodyPr anchor="ctr" anchorCtr="0"/>
          <a:lstStyle>
            <a:lvl1pPr marL="0" indent="0">
              <a:buFontTx/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228600" indent="0">
              <a:buFontTx/>
              <a:buNone/>
              <a:defRPr/>
            </a:lvl4pPr>
            <a:lvl5pPr marL="4572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5D8D7E-83E5-4760-B411-38CD943042C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BFE79BF-DC50-493C-961C-E57448CD2CD1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EE8FFDE-C0A5-41CD-A45E-1AC7960A3798}"/>
              </a:ext>
            </a:extLst>
          </p:cNvPr>
          <p:cNvSpPr/>
          <p:nvPr userDrawn="1"/>
        </p:nvSpPr>
        <p:spPr>
          <a:xfrm>
            <a:off x="6137564" y="682413"/>
            <a:ext cx="182880" cy="182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AE5BB56-AE6B-46DF-95BB-4849023DAACC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199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794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795" y="1829498"/>
            <a:ext cx="10450413" cy="738664"/>
          </a:xfrm>
        </p:spPr>
        <p:txBody>
          <a:bodyPr vert="horz" wrap="square" anchor="b" anchorCtr="0">
            <a:spAutoFit/>
          </a:bodyPr>
          <a:lstStyle>
            <a:lvl1pPr algn="l">
              <a:defRPr sz="4800" b="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0795" y="2914795"/>
            <a:ext cx="10450413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7C29F1-0F54-4C2F-9E0A-FFB9465E4D7C}"/>
              </a:ext>
            </a:extLst>
          </p:cNvPr>
          <p:cNvCxnSpPr>
            <a:cxnSpLocks/>
          </p:cNvCxnSpPr>
          <p:nvPr userDrawn="1"/>
        </p:nvCxnSpPr>
        <p:spPr>
          <a:xfrm>
            <a:off x="870795" y="2625436"/>
            <a:ext cx="10450413" cy="0"/>
          </a:xfrm>
          <a:prstGeom prst="line">
            <a:avLst/>
          </a:prstGeom>
          <a:ln w="19050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2CE7FD11-F530-4082-8B2C-B37D253DC7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6069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028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accent6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tx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F9174B-D9E5-4830-AF93-F6FFEE12F86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1504" y="567267"/>
            <a:ext cx="5490403" cy="565573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16059C0-32F1-4E2E-8151-645497F01F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08A0139-F198-4A99-B6E6-F5FAE28C9773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F2EF99-24D5-41B7-B890-3D7CF8AC1355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8426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preserve="1" userDrawn="1">
  <p:cSld name="Divider 2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0551B-CCAA-40CF-BB09-C647D5292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6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0551B-CCAA-40CF-BB09-C647D5292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0189037-C5E9-4409-86CB-C49906D4FF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1651" y="0"/>
            <a:ext cx="7570350" cy="6858000"/>
          </a:xfrm>
          <a:custGeom>
            <a:avLst/>
            <a:gdLst>
              <a:gd name="connsiteX0" fmla="*/ 2996044 w 7570350"/>
              <a:gd name="connsiteY0" fmla="*/ 0 h 6858000"/>
              <a:gd name="connsiteX1" fmla="*/ 7570350 w 7570350"/>
              <a:gd name="connsiteY1" fmla="*/ 0 h 6858000"/>
              <a:gd name="connsiteX2" fmla="*/ 7570350 w 7570350"/>
              <a:gd name="connsiteY2" fmla="*/ 6858000 h 6858000"/>
              <a:gd name="connsiteX3" fmla="*/ 0 w 7570350"/>
              <a:gd name="connsiteY3" fmla="*/ 6858000 h 6858000"/>
              <a:gd name="connsiteX4" fmla="*/ 644436 w 7570350"/>
              <a:gd name="connsiteY4" fmla="*/ 5382876 h 6858000"/>
              <a:gd name="connsiteX5" fmla="*/ 886254 w 7570350"/>
              <a:gd name="connsiteY5" fmla="*/ 5382876 h 6858000"/>
              <a:gd name="connsiteX6" fmla="*/ 2593412 w 7570350"/>
              <a:gd name="connsiteY6" fmla="*/ 1475127 h 6858000"/>
              <a:gd name="connsiteX7" fmla="*/ 2351608 w 7570350"/>
              <a:gd name="connsiteY7" fmla="*/ 14751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70350" h="6858000">
                <a:moveTo>
                  <a:pt x="2996044" y="0"/>
                </a:moveTo>
                <a:lnTo>
                  <a:pt x="7570350" y="0"/>
                </a:lnTo>
                <a:lnTo>
                  <a:pt x="7570350" y="6858000"/>
                </a:lnTo>
                <a:lnTo>
                  <a:pt x="0" y="6858000"/>
                </a:lnTo>
                <a:lnTo>
                  <a:pt x="644436" y="5382876"/>
                </a:lnTo>
                <a:lnTo>
                  <a:pt x="886254" y="5382876"/>
                </a:lnTo>
                <a:lnTo>
                  <a:pt x="2593412" y="1475127"/>
                </a:lnTo>
                <a:lnTo>
                  <a:pt x="2351608" y="147512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1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Google Shape;11;p2"/>
          <p:cNvSpPr/>
          <p:nvPr/>
        </p:nvSpPr>
        <p:spPr>
          <a:xfrm>
            <a:off x="17" y="-25"/>
            <a:ext cx="7617703" cy="6863837"/>
          </a:xfrm>
          <a:custGeom>
            <a:avLst/>
            <a:gdLst/>
            <a:ahLst/>
            <a:cxnLst/>
            <a:rect l="l" t="t" r="r" b="b"/>
            <a:pathLst>
              <a:path w="4644941" h="4202349" extrusionOk="0">
                <a:moveTo>
                  <a:pt x="2816531" y="4202349"/>
                </a:moveTo>
                <a:lnTo>
                  <a:pt x="0" y="4202349"/>
                </a:lnTo>
                <a:lnTo>
                  <a:pt x="0" y="0"/>
                </a:lnTo>
                <a:lnTo>
                  <a:pt x="4644942" y="0"/>
                </a:lnTo>
                <a:lnTo>
                  <a:pt x="2816531" y="42023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9525" algn="bl" rotWithShape="0">
              <a:schemeClr val="lt1">
                <a:alpha val="15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609600" y="2317769"/>
            <a:ext cx="4636000" cy="2222462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 sz="4800">
                <a:solidFill>
                  <a:schemeClr val="accent6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Google Shape;12;p2">
            <a:extLst>
              <a:ext uri="{FF2B5EF4-FFF2-40B4-BE49-F238E27FC236}">
                <a16:creationId xmlns:a16="http://schemas.microsoft.com/office/drawing/2014/main" id="{BBF4B21D-E5A8-4D68-A56D-AB32AF199339}"/>
              </a:ext>
            </a:extLst>
          </p:cNvPr>
          <p:cNvSpPr/>
          <p:nvPr userDrawn="1"/>
        </p:nvSpPr>
        <p:spPr>
          <a:xfrm>
            <a:off x="5076762" y="1475127"/>
            <a:ext cx="2138317" cy="3907747"/>
          </a:xfrm>
          <a:custGeom>
            <a:avLst/>
            <a:gdLst/>
            <a:ahLst/>
            <a:cxnLst/>
            <a:rect l="l" t="t" r="r" b="b"/>
            <a:pathLst>
              <a:path w="1303852" h="2392498" extrusionOk="0">
                <a:moveTo>
                  <a:pt x="1040950" y="0"/>
                </a:moveTo>
                <a:lnTo>
                  <a:pt x="0" y="2392499"/>
                </a:lnTo>
                <a:lnTo>
                  <a:pt x="262902" y="2392499"/>
                </a:lnTo>
                <a:lnTo>
                  <a:pt x="1303852" y="0"/>
                </a:lnTo>
                <a:lnTo>
                  <a:pt x="1040950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7150" dist="19050" algn="bl" rotWithShape="0">
              <a:schemeClr val="dk1">
                <a:alpha val="30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E3BCB-5F94-4F67-BD20-56E2282ADD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5622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preserve="1" userDrawn="1">
  <p:cSld name="1_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0551B-CCAA-40CF-BB09-C647D5292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6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0551B-CCAA-40CF-BB09-C647D5292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0189037-C5E9-4409-86CB-C49906D4FF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1651" y="0"/>
            <a:ext cx="7570350" cy="6858000"/>
          </a:xfrm>
          <a:custGeom>
            <a:avLst/>
            <a:gdLst>
              <a:gd name="connsiteX0" fmla="*/ 2996044 w 7570350"/>
              <a:gd name="connsiteY0" fmla="*/ 0 h 6858000"/>
              <a:gd name="connsiteX1" fmla="*/ 7570350 w 7570350"/>
              <a:gd name="connsiteY1" fmla="*/ 0 h 6858000"/>
              <a:gd name="connsiteX2" fmla="*/ 7570350 w 7570350"/>
              <a:gd name="connsiteY2" fmla="*/ 6858000 h 6858000"/>
              <a:gd name="connsiteX3" fmla="*/ 0 w 7570350"/>
              <a:gd name="connsiteY3" fmla="*/ 6858000 h 6858000"/>
              <a:gd name="connsiteX4" fmla="*/ 644436 w 7570350"/>
              <a:gd name="connsiteY4" fmla="*/ 5382876 h 6858000"/>
              <a:gd name="connsiteX5" fmla="*/ 886254 w 7570350"/>
              <a:gd name="connsiteY5" fmla="*/ 5382876 h 6858000"/>
              <a:gd name="connsiteX6" fmla="*/ 2593412 w 7570350"/>
              <a:gd name="connsiteY6" fmla="*/ 1475127 h 6858000"/>
              <a:gd name="connsiteX7" fmla="*/ 2351608 w 7570350"/>
              <a:gd name="connsiteY7" fmla="*/ 14751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70350" h="6858000">
                <a:moveTo>
                  <a:pt x="2996044" y="0"/>
                </a:moveTo>
                <a:lnTo>
                  <a:pt x="7570350" y="0"/>
                </a:lnTo>
                <a:lnTo>
                  <a:pt x="7570350" y="6858000"/>
                </a:lnTo>
                <a:lnTo>
                  <a:pt x="0" y="6858000"/>
                </a:lnTo>
                <a:lnTo>
                  <a:pt x="644436" y="5382876"/>
                </a:lnTo>
                <a:lnTo>
                  <a:pt x="886254" y="5382876"/>
                </a:lnTo>
                <a:lnTo>
                  <a:pt x="2593412" y="1475127"/>
                </a:lnTo>
                <a:lnTo>
                  <a:pt x="2351608" y="14751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1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Google Shape;11;p2"/>
          <p:cNvSpPr/>
          <p:nvPr/>
        </p:nvSpPr>
        <p:spPr>
          <a:xfrm>
            <a:off x="17" y="-25"/>
            <a:ext cx="7617703" cy="6863837"/>
          </a:xfrm>
          <a:custGeom>
            <a:avLst/>
            <a:gdLst/>
            <a:ahLst/>
            <a:cxnLst/>
            <a:rect l="l" t="t" r="r" b="b"/>
            <a:pathLst>
              <a:path w="4644941" h="4202349" extrusionOk="0">
                <a:moveTo>
                  <a:pt x="2816531" y="4202349"/>
                </a:moveTo>
                <a:lnTo>
                  <a:pt x="0" y="4202349"/>
                </a:lnTo>
                <a:lnTo>
                  <a:pt x="0" y="0"/>
                </a:lnTo>
                <a:lnTo>
                  <a:pt x="4644942" y="0"/>
                </a:lnTo>
                <a:lnTo>
                  <a:pt x="2816531" y="42023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9525" algn="bl" rotWithShape="0">
              <a:schemeClr val="lt1">
                <a:alpha val="15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609600" y="2317769"/>
            <a:ext cx="4636000" cy="2222462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 sz="4800">
                <a:solidFill>
                  <a:schemeClr val="accent6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Google Shape;12;p2">
            <a:extLst>
              <a:ext uri="{FF2B5EF4-FFF2-40B4-BE49-F238E27FC236}">
                <a16:creationId xmlns:a16="http://schemas.microsoft.com/office/drawing/2014/main" id="{BBF4B21D-E5A8-4D68-A56D-AB32AF199339}"/>
              </a:ext>
            </a:extLst>
          </p:cNvPr>
          <p:cNvSpPr/>
          <p:nvPr userDrawn="1"/>
        </p:nvSpPr>
        <p:spPr>
          <a:xfrm>
            <a:off x="5076762" y="1475127"/>
            <a:ext cx="2138317" cy="3907747"/>
          </a:xfrm>
          <a:custGeom>
            <a:avLst/>
            <a:gdLst/>
            <a:ahLst/>
            <a:cxnLst/>
            <a:rect l="l" t="t" r="r" b="b"/>
            <a:pathLst>
              <a:path w="1303852" h="2392498" extrusionOk="0">
                <a:moveTo>
                  <a:pt x="1040950" y="0"/>
                </a:moveTo>
                <a:lnTo>
                  <a:pt x="0" y="2392499"/>
                </a:lnTo>
                <a:lnTo>
                  <a:pt x="262902" y="2392499"/>
                </a:lnTo>
                <a:lnTo>
                  <a:pt x="1303852" y="0"/>
                </a:lnTo>
                <a:lnTo>
                  <a:pt x="104095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7150" dist="19050" algn="bl" rotWithShape="0">
              <a:schemeClr val="dk1">
                <a:alpha val="30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E3BCB-5F94-4F67-BD20-56E2282ADD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242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preserve="1" userDrawn="1">
  <p:cSld name="1_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0551B-CCAA-40CF-BB09-C647D5292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6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0551B-CCAA-40CF-BB09-C647D5292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0189037-C5E9-4409-86CB-C49906D4FF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1651" y="0"/>
            <a:ext cx="7570350" cy="6858000"/>
          </a:xfrm>
          <a:custGeom>
            <a:avLst/>
            <a:gdLst>
              <a:gd name="connsiteX0" fmla="*/ 2996044 w 7570350"/>
              <a:gd name="connsiteY0" fmla="*/ 0 h 6858000"/>
              <a:gd name="connsiteX1" fmla="*/ 7570350 w 7570350"/>
              <a:gd name="connsiteY1" fmla="*/ 0 h 6858000"/>
              <a:gd name="connsiteX2" fmla="*/ 7570350 w 7570350"/>
              <a:gd name="connsiteY2" fmla="*/ 6858000 h 6858000"/>
              <a:gd name="connsiteX3" fmla="*/ 0 w 7570350"/>
              <a:gd name="connsiteY3" fmla="*/ 6858000 h 6858000"/>
              <a:gd name="connsiteX4" fmla="*/ 644436 w 7570350"/>
              <a:gd name="connsiteY4" fmla="*/ 5382876 h 6858000"/>
              <a:gd name="connsiteX5" fmla="*/ 886254 w 7570350"/>
              <a:gd name="connsiteY5" fmla="*/ 5382876 h 6858000"/>
              <a:gd name="connsiteX6" fmla="*/ 2593412 w 7570350"/>
              <a:gd name="connsiteY6" fmla="*/ 1475127 h 6858000"/>
              <a:gd name="connsiteX7" fmla="*/ 2351608 w 7570350"/>
              <a:gd name="connsiteY7" fmla="*/ 14751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70350" h="6858000">
                <a:moveTo>
                  <a:pt x="2996044" y="0"/>
                </a:moveTo>
                <a:lnTo>
                  <a:pt x="7570350" y="0"/>
                </a:lnTo>
                <a:lnTo>
                  <a:pt x="7570350" y="6858000"/>
                </a:lnTo>
                <a:lnTo>
                  <a:pt x="0" y="6858000"/>
                </a:lnTo>
                <a:lnTo>
                  <a:pt x="644436" y="5382876"/>
                </a:lnTo>
                <a:lnTo>
                  <a:pt x="886254" y="5382876"/>
                </a:lnTo>
                <a:lnTo>
                  <a:pt x="2593412" y="1475127"/>
                </a:lnTo>
                <a:lnTo>
                  <a:pt x="2351608" y="1475127"/>
                </a:lnTo>
                <a:close/>
              </a:path>
            </a:pathLst>
          </a:custGeom>
          <a:solidFill>
            <a:srgbClr val="95006C"/>
          </a:solidFill>
        </p:spPr>
        <p:txBody>
          <a:bodyPr wrap="square" anchor="ctr" anchorCtr="1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Google Shape;11;p2"/>
          <p:cNvSpPr/>
          <p:nvPr/>
        </p:nvSpPr>
        <p:spPr>
          <a:xfrm>
            <a:off x="17" y="-25"/>
            <a:ext cx="7617703" cy="6863837"/>
          </a:xfrm>
          <a:custGeom>
            <a:avLst/>
            <a:gdLst/>
            <a:ahLst/>
            <a:cxnLst/>
            <a:rect l="l" t="t" r="r" b="b"/>
            <a:pathLst>
              <a:path w="4644941" h="4202349" extrusionOk="0">
                <a:moveTo>
                  <a:pt x="2816531" y="4202349"/>
                </a:moveTo>
                <a:lnTo>
                  <a:pt x="0" y="4202349"/>
                </a:lnTo>
                <a:lnTo>
                  <a:pt x="0" y="0"/>
                </a:lnTo>
                <a:lnTo>
                  <a:pt x="4644942" y="0"/>
                </a:lnTo>
                <a:lnTo>
                  <a:pt x="2816531" y="42023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9525" algn="bl" rotWithShape="0">
              <a:schemeClr val="lt1">
                <a:alpha val="15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609600" y="2317769"/>
            <a:ext cx="4636000" cy="2222462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 sz="4800">
                <a:solidFill>
                  <a:schemeClr val="accent6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Google Shape;12;p2">
            <a:extLst>
              <a:ext uri="{FF2B5EF4-FFF2-40B4-BE49-F238E27FC236}">
                <a16:creationId xmlns:a16="http://schemas.microsoft.com/office/drawing/2014/main" id="{BBF4B21D-E5A8-4D68-A56D-AB32AF199339}"/>
              </a:ext>
            </a:extLst>
          </p:cNvPr>
          <p:cNvSpPr/>
          <p:nvPr userDrawn="1"/>
        </p:nvSpPr>
        <p:spPr>
          <a:xfrm>
            <a:off x="5076762" y="1475127"/>
            <a:ext cx="2138317" cy="3907747"/>
          </a:xfrm>
          <a:custGeom>
            <a:avLst/>
            <a:gdLst/>
            <a:ahLst/>
            <a:cxnLst/>
            <a:rect l="l" t="t" r="r" b="b"/>
            <a:pathLst>
              <a:path w="1303852" h="2392498" extrusionOk="0">
                <a:moveTo>
                  <a:pt x="1040950" y="0"/>
                </a:moveTo>
                <a:lnTo>
                  <a:pt x="0" y="2392499"/>
                </a:lnTo>
                <a:lnTo>
                  <a:pt x="262902" y="2392499"/>
                </a:lnTo>
                <a:lnTo>
                  <a:pt x="1303852" y="0"/>
                </a:lnTo>
                <a:lnTo>
                  <a:pt x="1040950" y="0"/>
                </a:lnTo>
                <a:close/>
              </a:path>
            </a:pathLst>
          </a:custGeom>
          <a:solidFill>
            <a:srgbClr val="FFA3E5"/>
          </a:solidFill>
          <a:ln>
            <a:noFill/>
          </a:ln>
          <a:effectLst>
            <a:outerShdw blurRad="57150" dist="19050" algn="bl" rotWithShape="0">
              <a:schemeClr val="dk1">
                <a:alpha val="30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E3BCB-5F94-4F67-BD20-56E2282ADD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4090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preserve="1" userDrawn="1">
  <p:cSld name="1_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0551B-CCAA-40CF-BB09-C647D5292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6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0551B-CCAA-40CF-BB09-C647D5292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0189037-C5E9-4409-86CB-C49906D4FF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1651" y="0"/>
            <a:ext cx="7570350" cy="6858000"/>
          </a:xfrm>
          <a:custGeom>
            <a:avLst/>
            <a:gdLst>
              <a:gd name="connsiteX0" fmla="*/ 2996044 w 7570350"/>
              <a:gd name="connsiteY0" fmla="*/ 0 h 6858000"/>
              <a:gd name="connsiteX1" fmla="*/ 7570350 w 7570350"/>
              <a:gd name="connsiteY1" fmla="*/ 0 h 6858000"/>
              <a:gd name="connsiteX2" fmla="*/ 7570350 w 7570350"/>
              <a:gd name="connsiteY2" fmla="*/ 6858000 h 6858000"/>
              <a:gd name="connsiteX3" fmla="*/ 0 w 7570350"/>
              <a:gd name="connsiteY3" fmla="*/ 6858000 h 6858000"/>
              <a:gd name="connsiteX4" fmla="*/ 644436 w 7570350"/>
              <a:gd name="connsiteY4" fmla="*/ 5382876 h 6858000"/>
              <a:gd name="connsiteX5" fmla="*/ 886254 w 7570350"/>
              <a:gd name="connsiteY5" fmla="*/ 5382876 h 6858000"/>
              <a:gd name="connsiteX6" fmla="*/ 2593412 w 7570350"/>
              <a:gd name="connsiteY6" fmla="*/ 1475127 h 6858000"/>
              <a:gd name="connsiteX7" fmla="*/ 2351608 w 7570350"/>
              <a:gd name="connsiteY7" fmla="*/ 14751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70350" h="6858000">
                <a:moveTo>
                  <a:pt x="2996044" y="0"/>
                </a:moveTo>
                <a:lnTo>
                  <a:pt x="7570350" y="0"/>
                </a:lnTo>
                <a:lnTo>
                  <a:pt x="7570350" y="6858000"/>
                </a:lnTo>
                <a:lnTo>
                  <a:pt x="0" y="6858000"/>
                </a:lnTo>
                <a:lnTo>
                  <a:pt x="644436" y="5382876"/>
                </a:lnTo>
                <a:lnTo>
                  <a:pt x="886254" y="5382876"/>
                </a:lnTo>
                <a:lnTo>
                  <a:pt x="2593412" y="1475127"/>
                </a:lnTo>
                <a:lnTo>
                  <a:pt x="2351608" y="147512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1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Google Shape;11;p2"/>
          <p:cNvSpPr/>
          <p:nvPr/>
        </p:nvSpPr>
        <p:spPr>
          <a:xfrm>
            <a:off x="17" y="-25"/>
            <a:ext cx="7617703" cy="6863837"/>
          </a:xfrm>
          <a:custGeom>
            <a:avLst/>
            <a:gdLst/>
            <a:ahLst/>
            <a:cxnLst/>
            <a:rect l="l" t="t" r="r" b="b"/>
            <a:pathLst>
              <a:path w="4644941" h="4202349" extrusionOk="0">
                <a:moveTo>
                  <a:pt x="2816531" y="4202349"/>
                </a:moveTo>
                <a:lnTo>
                  <a:pt x="0" y="4202349"/>
                </a:lnTo>
                <a:lnTo>
                  <a:pt x="0" y="0"/>
                </a:lnTo>
                <a:lnTo>
                  <a:pt x="4644942" y="0"/>
                </a:lnTo>
                <a:lnTo>
                  <a:pt x="2816531" y="42023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9525" algn="bl" rotWithShape="0">
              <a:schemeClr val="lt1">
                <a:alpha val="15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609600" y="2317769"/>
            <a:ext cx="4636000" cy="2222462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 sz="4800">
                <a:solidFill>
                  <a:schemeClr val="accent6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Google Shape;12;p2">
            <a:extLst>
              <a:ext uri="{FF2B5EF4-FFF2-40B4-BE49-F238E27FC236}">
                <a16:creationId xmlns:a16="http://schemas.microsoft.com/office/drawing/2014/main" id="{BBF4B21D-E5A8-4D68-A56D-AB32AF199339}"/>
              </a:ext>
            </a:extLst>
          </p:cNvPr>
          <p:cNvSpPr/>
          <p:nvPr userDrawn="1"/>
        </p:nvSpPr>
        <p:spPr>
          <a:xfrm>
            <a:off x="5076762" y="1475127"/>
            <a:ext cx="2138317" cy="3907747"/>
          </a:xfrm>
          <a:custGeom>
            <a:avLst/>
            <a:gdLst/>
            <a:ahLst/>
            <a:cxnLst/>
            <a:rect l="l" t="t" r="r" b="b"/>
            <a:pathLst>
              <a:path w="1303852" h="2392498" extrusionOk="0">
                <a:moveTo>
                  <a:pt x="1040950" y="0"/>
                </a:moveTo>
                <a:lnTo>
                  <a:pt x="0" y="2392499"/>
                </a:lnTo>
                <a:lnTo>
                  <a:pt x="262902" y="2392499"/>
                </a:lnTo>
                <a:lnTo>
                  <a:pt x="1303852" y="0"/>
                </a:lnTo>
                <a:lnTo>
                  <a:pt x="104095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7150" dist="19050" algn="bl" rotWithShape="0">
              <a:schemeClr val="dk1">
                <a:alpha val="30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E3BCB-5F94-4F67-BD20-56E2282ADD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2085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preserve="1" userDrawn="1">
  <p:cSld name="1_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0551B-CCAA-40CF-BB09-C647D5292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6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0551B-CCAA-40CF-BB09-C647D5292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0189037-C5E9-4409-86CB-C49906D4FF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1651" y="0"/>
            <a:ext cx="7570350" cy="6858000"/>
          </a:xfrm>
          <a:custGeom>
            <a:avLst/>
            <a:gdLst>
              <a:gd name="connsiteX0" fmla="*/ 2996044 w 7570350"/>
              <a:gd name="connsiteY0" fmla="*/ 0 h 6858000"/>
              <a:gd name="connsiteX1" fmla="*/ 7570350 w 7570350"/>
              <a:gd name="connsiteY1" fmla="*/ 0 h 6858000"/>
              <a:gd name="connsiteX2" fmla="*/ 7570350 w 7570350"/>
              <a:gd name="connsiteY2" fmla="*/ 6858000 h 6858000"/>
              <a:gd name="connsiteX3" fmla="*/ 0 w 7570350"/>
              <a:gd name="connsiteY3" fmla="*/ 6858000 h 6858000"/>
              <a:gd name="connsiteX4" fmla="*/ 644436 w 7570350"/>
              <a:gd name="connsiteY4" fmla="*/ 5382876 h 6858000"/>
              <a:gd name="connsiteX5" fmla="*/ 886254 w 7570350"/>
              <a:gd name="connsiteY5" fmla="*/ 5382876 h 6858000"/>
              <a:gd name="connsiteX6" fmla="*/ 2593412 w 7570350"/>
              <a:gd name="connsiteY6" fmla="*/ 1475127 h 6858000"/>
              <a:gd name="connsiteX7" fmla="*/ 2351608 w 7570350"/>
              <a:gd name="connsiteY7" fmla="*/ 14751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70350" h="6858000">
                <a:moveTo>
                  <a:pt x="2996044" y="0"/>
                </a:moveTo>
                <a:lnTo>
                  <a:pt x="7570350" y="0"/>
                </a:lnTo>
                <a:lnTo>
                  <a:pt x="7570350" y="6858000"/>
                </a:lnTo>
                <a:lnTo>
                  <a:pt x="0" y="6858000"/>
                </a:lnTo>
                <a:lnTo>
                  <a:pt x="644436" y="5382876"/>
                </a:lnTo>
                <a:lnTo>
                  <a:pt x="886254" y="5382876"/>
                </a:lnTo>
                <a:lnTo>
                  <a:pt x="2593412" y="1475127"/>
                </a:lnTo>
                <a:lnTo>
                  <a:pt x="2351608" y="1475127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Google Shape;11;p2"/>
          <p:cNvSpPr/>
          <p:nvPr/>
        </p:nvSpPr>
        <p:spPr>
          <a:xfrm>
            <a:off x="17" y="-25"/>
            <a:ext cx="7617703" cy="6863837"/>
          </a:xfrm>
          <a:custGeom>
            <a:avLst/>
            <a:gdLst/>
            <a:ahLst/>
            <a:cxnLst/>
            <a:rect l="l" t="t" r="r" b="b"/>
            <a:pathLst>
              <a:path w="4644941" h="4202349" extrusionOk="0">
                <a:moveTo>
                  <a:pt x="2816531" y="4202349"/>
                </a:moveTo>
                <a:lnTo>
                  <a:pt x="0" y="4202349"/>
                </a:lnTo>
                <a:lnTo>
                  <a:pt x="0" y="0"/>
                </a:lnTo>
                <a:lnTo>
                  <a:pt x="4644942" y="0"/>
                </a:lnTo>
                <a:lnTo>
                  <a:pt x="2816531" y="42023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9525" algn="bl" rotWithShape="0">
              <a:schemeClr val="lt1">
                <a:alpha val="15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609600" y="2317769"/>
            <a:ext cx="4636000" cy="2222462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 sz="4800">
                <a:solidFill>
                  <a:schemeClr val="accent6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Google Shape;12;p2">
            <a:extLst>
              <a:ext uri="{FF2B5EF4-FFF2-40B4-BE49-F238E27FC236}">
                <a16:creationId xmlns:a16="http://schemas.microsoft.com/office/drawing/2014/main" id="{BBF4B21D-E5A8-4D68-A56D-AB32AF199339}"/>
              </a:ext>
            </a:extLst>
          </p:cNvPr>
          <p:cNvSpPr/>
          <p:nvPr userDrawn="1"/>
        </p:nvSpPr>
        <p:spPr>
          <a:xfrm>
            <a:off x="5076762" y="1475127"/>
            <a:ext cx="2138317" cy="3907747"/>
          </a:xfrm>
          <a:custGeom>
            <a:avLst/>
            <a:gdLst/>
            <a:ahLst/>
            <a:cxnLst/>
            <a:rect l="l" t="t" r="r" b="b"/>
            <a:pathLst>
              <a:path w="1303852" h="2392498" extrusionOk="0">
                <a:moveTo>
                  <a:pt x="1040950" y="0"/>
                </a:moveTo>
                <a:lnTo>
                  <a:pt x="0" y="2392499"/>
                </a:lnTo>
                <a:lnTo>
                  <a:pt x="262902" y="2392499"/>
                </a:lnTo>
                <a:lnTo>
                  <a:pt x="1303852" y="0"/>
                </a:lnTo>
                <a:lnTo>
                  <a:pt x="1040950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7150" dist="19050" algn="bl" rotWithShape="0">
              <a:schemeClr val="dk1">
                <a:alpha val="30000"/>
              </a:scheme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E3BCB-5F94-4F67-BD20-56E2282ADD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2528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016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Oval 17">
            <a:extLst>
              <a:ext uri="{FF2B5EF4-FFF2-40B4-BE49-F238E27FC236}">
                <a16:creationId xmlns:a16="http://schemas.microsoft.com/office/drawing/2014/main" id="{33C2FF14-B9CD-44E9-B5B9-824E7EB9FBE6}"/>
              </a:ext>
            </a:extLst>
          </p:cNvPr>
          <p:cNvSpPr>
            <a:spLocks/>
          </p:cNvSpPr>
          <p:nvPr userDrawn="1"/>
        </p:nvSpPr>
        <p:spPr>
          <a:xfrm>
            <a:off x="340093" y="2493817"/>
            <a:ext cx="1870364" cy="187036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2500745" y="3121224"/>
            <a:ext cx="9351163" cy="615553"/>
          </a:xfrm>
        </p:spPr>
        <p:txBody>
          <a:bodyPr vert="horz" wrap="square" anchor="ctr">
            <a:spAutoFit/>
          </a:bodyPr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6FF6D3-9405-472A-B97D-8D683E87CFC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5101" y="3059667"/>
            <a:ext cx="1040349" cy="738664"/>
          </a:xfrm>
        </p:spPr>
        <p:txBody>
          <a:bodyPr wrap="none" anchor="ctr" anchorCtr="1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#&gt;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5C82016-4203-411D-B1B9-7576364DBB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794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016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Oval 17">
            <a:extLst>
              <a:ext uri="{FF2B5EF4-FFF2-40B4-BE49-F238E27FC236}">
                <a16:creationId xmlns:a16="http://schemas.microsoft.com/office/drawing/2014/main" id="{33C2FF14-B9CD-44E9-B5B9-824E7EB9FBE6}"/>
              </a:ext>
            </a:extLst>
          </p:cNvPr>
          <p:cNvSpPr>
            <a:spLocks/>
          </p:cNvSpPr>
          <p:nvPr userDrawn="1"/>
        </p:nvSpPr>
        <p:spPr>
          <a:xfrm>
            <a:off x="340093" y="2493817"/>
            <a:ext cx="1870364" cy="1870364"/>
          </a:xfrm>
          <a:prstGeom prst="ellipse">
            <a:avLst/>
          </a:prstGeom>
          <a:solidFill>
            <a:srgbClr val="950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2500745" y="3121224"/>
            <a:ext cx="9351163" cy="615553"/>
          </a:xfrm>
        </p:spPr>
        <p:txBody>
          <a:bodyPr vert="horz" wrap="square" anchor="ctr">
            <a:spAutoFit/>
          </a:bodyPr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6FF6D3-9405-472A-B97D-8D683E87CFC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5101" y="3059667"/>
            <a:ext cx="1040349" cy="738664"/>
          </a:xfrm>
        </p:spPr>
        <p:txBody>
          <a:bodyPr wrap="none" anchor="ctr" anchorCtr="1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#&gt;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5C82016-4203-411D-B1B9-7576364DBB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090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Contras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80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Oval 17">
            <a:extLst>
              <a:ext uri="{FF2B5EF4-FFF2-40B4-BE49-F238E27FC236}">
                <a16:creationId xmlns:a16="http://schemas.microsoft.com/office/drawing/2014/main" id="{33C2FF14-B9CD-44E9-B5B9-824E7EB9FBE6}"/>
              </a:ext>
            </a:extLst>
          </p:cNvPr>
          <p:cNvSpPr>
            <a:spLocks/>
          </p:cNvSpPr>
          <p:nvPr userDrawn="1"/>
        </p:nvSpPr>
        <p:spPr>
          <a:xfrm>
            <a:off x="340093" y="2493817"/>
            <a:ext cx="1870364" cy="18703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2500745" y="3121224"/>
            <a:ext cx="9351163" cy="615553"/>
          </a:xfrm>
        </p:spPr>
        <p:txBody>
          <a:bodyPr vert="horz" wrap="square" anchor="ctr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6FF6D3-9405-472A-B97D-8D683E87CFC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5101" y="3059667"/>
            <a:ext cx="1040349" cy="738664"/>
          </a:xfrm>
        </p:spPr>
        <p:txBody>
          <a:bodyPr wrap="none" anchor="ctr" anchorCtr="1">
            <a:spAutoFit/>
          </a:bodyPr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&lt;#&gt;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F9F2A5-AB21-4604-9E15-409B06DBE8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889CD4-221C-47F5-AE23-FFCC4215A82C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774B033A-70A9-A98B-9A92-DFE234DEE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709057" y="6477000"/>
            <a:ext cx="9701960" cy="9690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bg1">
                  <a:alpha val="6000"/>
                  <a:lumMod val="6551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9344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 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0325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1527792" y="3121224"/>
            <a:ext cx="9136416" cy="615553"/>
          </a:xfrm>
        </p:spPr>
        <p:txBody>
          <a:bodyPr vert="horz" wrap="square" anchor="ctr">
            <a:sp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messag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684B87-7CC5-4D76-9058-790A7B708A9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B83802-6B2E-4AD2-9C56-32E4476C24FA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10">
            <a:extLst>
              <a:ext uri="{FF2B5EF4-FFF2-40B4-BE49-F238E27FC236}">
                <a16:creationId xmlns:a16="http://schemas.microsoft.com/office/drawing/2014/main" id="{C4DC3B22-9C8A-C2D7-664D-13E775C3B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709057" y="6477000"/>
            <a:ext cx="9701960" cy="9690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bg1">
                  <a:alpha val="6000"/>
                  <a:lumMod val="6551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976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13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795" y="1829498"/>
            <a:ext cx="10450413" cy="738664"/>
          </a:xfrm>
        </p:spPr>
        <p:txBody>
          <a:bodyPr vert="horz" wrap="square" anchor="b" anchorCtr="0">
            <a:spAutoFit/>
          </a:bodyPr>
          <a:lstStyle>
            <a:lvl1pPr algn="l"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0795" y="2914795"/>
            <a:ext cx="10450413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7C29F1-0F54-4C2F-9E0A-FFB9465E4D7C}"/>
              </a:ext>
            </a:extLst>
          </p:cNvPr>
          <p:cNvCxnSpPr>
            <a:cxnSpLocks/>
          </p:cNvCxnSpPr>
          <p:nvPr userDrawn="1"/>
        </p:nvCxnSpPr>
        <p:spPr>
          <a:xfrm>
            <a:off x="870795" y="2625436"/>
            <a:ext cx="1045041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B545674-149D-47BE-AA7E-FFBBC9D13BD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720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582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127CE447-A642-4D81-98BA-CE38C786C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73679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5" name="그림 개체 틀 2">
            <a:extLst>
              <a:ext uri="{FF2B5EF4-FFF2-40B4-BE49-F238E27FC236}">
                <a16:creationId xmlns:a16="http://schemas.microsoft.com/office/drawing/2014/main" id="{4320FEFD-9FA3-44B9-A15E-9E80101380D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49573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6" name="그림 개체 틀 2">
            <a:extLst>
              <a:ext uri="{FF2B5EF4-FFF2-40B4-BE49-F238E27FC236}">
                <a16:creationId xmlns:a16="http://schemas.microsoft.com/office/drawing/2014/main" id="{677B01DD-AAD3-4EBA-B123-321D82696D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73679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8" name="그림 개체 틀 2">
            <a:extLst>
              <a:ext uri="{FF2B5EF4-FFF2-40B4-BE49-F238E27FC236}">
                <a16:creationId xmlns:a16="http://schemas.microsoft.com/office/drawing/2014/main" id="{1A34FF60-2F1E-421A-9713-1FDFC1B40F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49573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9" name="그림 개체 틀 2">
            <a:extLst>
              <a:ext uri="{FF2B5EF4-FFF2-40B4-BE49-F238E27FC236}">
                <a16:creationId xmlns:a16="http://schemas.microsoft.com/office/drawing/2014/main" id="{BD92E7D9-0DED-4EAD-A879-DE20C6FEBA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61626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10" name="그림 개체 틀 2">
            <a:extLst>
              <a:ext uri="{FF2B5EF4-FFF2-40B4-BE49-F238E27FC236}">
                <a16:creationId xmlns:a16="http://schemas.microsoft.com/office/drawing/2014/main" id="{2D54484E-9793-4069-9F0C-A340F3FB469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37519" y="1325400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11" name="그림 개체 틀 2">
            <a:extLst>
              <a:ext uri="{FF2B5EF4-FFF2-40B4-BE49-F238E27FC236}">
                <a16:creationId xmlns:a16="http://schemas.microsoft.com/office/drawing/2014/main" id="{0E2FD197-77A2-4D9C-9660-BC1BE4AF48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61626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12" name="그림 개체 틀 2">
            <a:extLst>
              <a:ext uri="{FF2B5EF4-FFF2-40B4-BE49-F238E27FC236}">
                <a16:creationId xmlns:a16="http://schemas.microsoft.com/office/drawing/2014/main" id="{C9A83A7E-5F60-41D1-8897-EA3531A3AD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237519" y="3790007"/>
            <a:ext cx="1307340" cy="1308087"/>
          </a:xfrm>
          <a:prstGeom prst="ellipse">
            <a:avLst/>
          </a:prstGeom>
          <a:pattFill prst="pct10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720000" anchor="ctr" anchorCtr="1"/>
          <a:lstStyle>
            <a:lvl1pPr marL="228600" marR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ko-KR" altLang="en-US" sz="1000"/>
            </a:lvl1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Click icon to add pictu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4700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250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093" y="281411"/>
            <a:ext cx="11511814" cy="98488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wo lines </a:t>
            </a:r>
            <a:br>
              <a:rPr lang="en-US" dirty="0"/>
            </a:br>
            <a:r>
              <a:rPr lang="en-US" dirty="0"/>
              <a:t>Slide tit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6A2E252-59C9-45CC-AE2B-05C6EA8758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579347"/>
            <a:ext cx="11511814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5813B1-8A60-42D8-8DE1-F6D5A8CAEE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26F9E15-D5A7-48AD-BBE3-0DA4FAFEA773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71F122C-A9BF-4CE6-93B2-E227572893B6}"/>
              </a:ext>
            </a:extLst>
          </p:cNvPr>
          <p:cNvSpPr>
            <a:spLocks/>
          </p:cNvSpPr>
          <p:nvPr userDrawn="1"/>
        </p:nvSpPr>
        <p:spPr>
          <a:xfrm>
            <a:off x="130174" y="281411"/>
            <a:ext cx="99897" cy="984885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: Rounded Corners 14">
            <a:extLst>
              <a:ext uri="{FF2B5EF4-FFF2-40B4-BE49-F238E27FC236}">
                <a16:creationId xmlns:a16="http://schemas.microsoft.com/office/drawing/2014/main" id="{4E31F9DA-E89D-A151-7FF9-34D8933599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684569" y="6498771"/>
            <a:ext cx="9726448" cy="751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99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572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56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197E876-A21D-4C61-B48F-5C64C5E0A2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150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F0E4F00-D032-495B-BEED-C22CBE5407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237486E-CFE5-4644-BE51-5B934893AE34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48A0DAE-A9BF-4348-8CE4-792CB063D7FA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8742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Layou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64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5C7DFB5-A541-4740-A365-3404D355AC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61BC227-808A-4134-BC08-40F8345B3CCB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42A28B-56C2-474C-B2C7-444D5F06A74E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FB75A2F2-27FE-77F8-7429-E5780518A6A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61504" y="138461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20599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2 Layou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64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504" y="527631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accent6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61504" y="1582337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accent6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accent6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accent6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5C7DFB5-A541-4740-A365-3404D355AC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61BC227-808A-4134-BC08-40F8345B3CCB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42A28B-56C2-474C-B2C7-444D5F06A74E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FB75A2F2-27FE-77F8-7429-E5780518A6A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8869" y="102007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8219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/2 Layou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64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504" y="527631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accent6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61504" y="1582337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accent6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accent6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accent6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5C7DFB5-A541-4740-A365-3404D355AC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61BC227-808A-4134-BC08-40F8345B3CCB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42A28B-56C2-474C-B2C7-444D5F06A74E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FB75A2F2-27FE-77F8-7429-E5780518A6A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8869" y="102007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90470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2 Layou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64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504" y="527631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accent6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61504" y="1582337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accent6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accent6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accent6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5C7DFB5-A541-4740-A365-3404D355AC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61BC227-808A-4134-BC08-40F8345B3CCB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42A28B-56C2-474C-B2C7-444D5F06A74E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FB75A2F2-27FE-77F8-7429-E5780518A6A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8869" y="102007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51537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/2 Layou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64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504" y="527631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accent6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61504" y="1582337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accent6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accent6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accent6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accent6"/>
                </a:solidFill>
              </a:defRPr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5C7DFB5-A541-4740-A365-3404D355AC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61BC227-808A-4134-BC08-40F8345B3CCB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42A28B-56C2-474C-B2C7-444D5F06A74E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FB75A2F2-27FE-77F8-7429-E5780518A6A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8869" y="102007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9757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Layout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34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63DE679-EC93-451D-8750-2131923DD1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61504" y="138461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56CBC54-10A0-423A-B7E7-E480FDCAC9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6E08EF4-9C2D-4992-BA9C-E43BBC27237C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67283D5-99FC-458C-A8DC-56AC2958880A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38458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Layout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34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63DE679-EC93-451D-8750-2131923DD1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61504" y="138461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56CBC54-10A0-423A-B7E7-E480FDCAC9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6E08EF4-9C2D-4992-BA9C-E43BBC27237C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67283D5-99FC-458C-A8DC-56AC2958880A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423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832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827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2 Layout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34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63DE679-EC93-451D-8750-2131923DD1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61504" y="138461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56CBC54-10A0-423A-B7E7-E480FDCAC9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6E08EF4-9C2D-4992-BA9C-E43BBC27237C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67283D5-99FC-458C-A8DC-56AC2958880A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9206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/2 Layout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34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6092952" y="-1"/>
            <a:ext cx="6099048" cy="685799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63DE679-EC93-451D-8750-2131923DD1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61504" y="138461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56CBC54-10A0-423A-B7E7-E480FDCAC9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6E08EF4-9C2D-4992-BA9C-E43BBC27237C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67283D5-99FC-458C-A8DC-56AC2958880A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4477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Layout wi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49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B483931-D654-4291-940B-2485BF9C2F7F}"/>
              </a:ext>
            </a:extLst>
          </p:cNvPr>
          <p:cNvSpPr/>
          <p:nvPr userDrawn="1"/>
        </p:nvSpPr>
        <p:spPr>
          <a:xfrm>
            <a:off x="0" y="-1"/>
            <a:ext cx="6099048" cy="68579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5561943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A0A62A3-2580-45CA-83BE-58D2450D9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0094" y="1384614"/>
            <a:ext cx="5561943" cy="1846659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0B5996E-4702-4DBF-9205-53A44896EE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A748404-1510-4A57-A782-91DF51E8F9A2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4A3E101-3644-4590-987E-43105085A2B3}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ADA296C0-6094-F8CE-2626-C28C285740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61504" y="1384614"/>
            <a:ext cx="5561943" cy="444815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9802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220BE4-767D-4B5F-8A54-E18D412F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23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220BE4-767D-4B5F-8A54-E18D412F9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EC6790-E65B-4EB6-81FF-A6C8A12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9A1647E7-A1D4-4A38-9DDE-BB6B1C2882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093" y="1461558"/>
            <a:ext cx="11511814" cy="4031873"/>
          </a:xfrm>
        </p:spPr>
        <p:txBody>
          <a:bodyPr/>
          <a:lstStyle>
            <a:lvl1pPr marL="342900" indent="-342900">
              <a:spcAft>
                <a:spcPts val="300"/>
              </a:spcAft>
              <a:buFont typeface="+mj-lt"/>
              <a:buAutoNum type="arabicPeriod"/>
              <a:defRPr sz="1400">
                <a:latin typeface="+mn-lt"/>
              </a:defRPr>
            </a:lvl1pPr>
            <a:lvl2pPr marL="685800" indent="-339725">
              <a:spcAft>
                <a:spcPts val="300"/>
              </a:spcAft>
              <a:buClrTx/>
              <a:buFont typeface="+mj-lt"/>
              <a:buAutoNum type="alphaLcPeriod"/>
              <a:defRPr sz="1400">
                <a:latin typeface="+mn-lt"/>
              </a:defRPr>
            </a:lvl2pPr>
            <a:lvl3pPr marL="1031875" indent="-346075">
              <a:spcAft>
                <a:spcPts val="300"/>
              </a:spcAft>
              <a:buFont typeface="Symbol" panose="05050102010706020507" pitchFamily="18" charset="2"/>
              <a:buChar char="-"/>
              <a:defRPr sz="1400">
                <a:latin typeface="+mn-lt"/>
              </a:defRPr>
            </a:lvl3pPr>
            <a:lvl4pPr marL="1031875" indent="-346075">
              <a:spcAft>
                <a:spcPts val="300"/>
              </a:spcAft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 dirty="0"/>
              <a:t>Insert text</a:t>
            </a:r>
          </a:p>
          <a:p>
            <a:pPr lvl="1"/>
            <a:r>
              <a:rPr lang="de-DE" dirty="0"/>
              <a:t>Insert text</a:t>
            </a:r>
          </a:p>
          <a:p>
            <a:pPr lvl="2"/>
            <a:r>
              <a:rPr lang="de-DE" dirty="0"/>
              <a:t>Insert text</a:t>
            </a:r>
          </a:p>
          <a:p>
            <a:pPr lvl="3"/>
            <a:r>
              <a:rPr lang="de-DE" dirty="0"/>
              <a:t>Insert text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Topic ten</a:t>
            </a:r>
          </a:p>
        </p:txBody>
      </p:sp>
    </p:spTree>
    <p:extLst>
      <p:ext uri="{BB962C8B-B14F-4D97-AF65-F5344CB8AC3E}">
        <p14:creationId xmlns:p14="http://schemas.microsoft.com/office/powerpoint/2010/main" val="18214474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62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5AFA202-E953-4177-83EA-A0F1455D6BDD}"/>
              </a:ext>
            </a:extLst>
          </p:cNvPr>
          <p:cNvSpPr>
            <a:spLocks/>
          </p:cNvSpPr>
          <p:nvPr userDrawn="1"/>
        </p:nvSpPr>
        <p:spPr>
          <a:xfrm>
            <a:off x="0" y="2482083"/>
            <a:ext cx="12191999" cy="189383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779646" y="3121224"/>
            <a:ext cx="10632707" cy="615553"/>
          </a:xfrm>
        </p:spPr>
        <p:txBody>
          <a:bodyPr vert="horz" wrap="square" anchor="ctr">
            <a:sp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E0CBB8-608E-4657-942D-B2784A4D44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0CC0390-7CA2-41B6-AD9C-F4152326C65A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14">
            <a:extLst>
              <a:ext uri="{FF2B5EF4-FFF2-40B4-BE49-F238E27FC236}">
                <a16:creationId xmlns:a16="http://schemas.microsoft.com/office/drawing/2014/main" id="{54538D28-7DC0-5CCB-AA91-559C32326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684569" y="6498771"/>
            <a:ext cx="9726448" cy="751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99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8323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62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5AFA202-E953-4177-83EA-A0F1455D6BDD}"/>
              </a:ext>
            </a:extLst>
          </p:cNvPr>
          <p:cNvSpPr>
            <a:spLocks/>
          </p:cNvSpPr>
          <p:nvPr userDrawn="1"/>
        </p:nvSpPr>
        <p:spPr>
          <a:xfrm>
            <a:off x="0" y="2482083"/>
            <a:ext cx="12191999" cy="18938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779646" y="3121224"/>
            <a:ext cx="10632707" cy="615553"/>
          </a:xfrm>
        </p:spPr>
        <p:txBody>
          <a:bodyPr vert="horz" wrap="square" anchor="ctr">
            <a:sp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E0CBB8-608E-4657-942D-B2784A4D44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0CC0390-7CA2-41B6-AD9C-F4152326C65A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14">
            <a:extLst>
              <a:ext uri="{FF2B5EF4-FFF2-40B4-BE49-F238E27FC236}">
                <a16:creationId xmlns:a16="http://schemas.microsoft.com/office/drawing/2014/main" id="{54538D28-7DC0-5CCB-AA91-559C32326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684569" y="6498771"/>
            <a:ext cx="9726448" cy="751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99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8020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62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5AFA202-E953-4177-83EA-A0F1455D6BDD}"/>
              </a:ext>
            </a:extLst>
          </p:cNvPr>
          <p:cNvSpPr>
            <a:spLocks/>
          </p:cNvSpPr>
          <p:nvPr userDrawn="1"/>
        </p:nvSpPr>
        <p:spPr>
          <a:xfrm>
            <a:off x="0" y="2482083"/>
            <a:ext cx="12191999" cy="1893835"/>
          </a:xfrm>
          <a:prstGeom prst="rect">
            <a:avLst/>
          </a:prstGeom>
          <a:solidFill>
            <a:srgbClr val="950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779646" y="3121224"/>
            <a:ext cx="10632707" cy="615553"/>
          </a:xfrm>
        </p:spPr>
        <p:txBody>
          <a:bodyPr vert="horz" wrap="square" anchor="ctr">
            <a:sp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E0CBB8-608E-4657-942D-B2784A4D44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0CC0390-7CA2-41B6-AD9C-F4152326C65A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14">
            <a:extLst>
              <a:ext uri="{FF2B5EF4-FFF2-40B4-BE49-F238E27FC236}">
                <a16:creationId xmlns:a16="http://schemas.microsoft.com/office/drawing/2014/main" id="{54538D28-7DC0-5CCB-AA91-559C32326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684569" y="6498771"/>
            <a:ext cx="9726448" cy="751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99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7134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0E3CD-A704-424D-8679-CFB155349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62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0E3CD-A704-424D-8679-CFB155349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5AFA202-E953-4177-83EA-A0F1455D6BDD}"/>
              </a:ext>
            </a:extLst>
          </p:cNvPr>
          <p:cNvSpPr>
            <a:spLocks/>
          </p:cNvSpPr>
          <p:nvPr userDrawn="1"/>
        </p:nvSpPr>
        <p:spPr>
          <a:xfrm>
            <a:off x="0" y="2482083"/>
            <a:ext cx="12191999" cy="189383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779646" y="3121224"/>
            <a:ext cx="10632707" cy="615553"/>
          </a:xfrm>
        </p:spPr>
        <p:txBody>
          <a:bodyPr vert="horz" wrap="square" anchor="ctr">
            <a:spAutoFit/>
          </a:bodyPr>
          <a:lstStyle>
            <a:lvl1pPr algn="ctr"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E0CBB8-608E-4657-942D-B2784A4D44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0CC0390-7CA2-41B6-AD9C-F4152326C65A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14">
            <a:extLst>
              <a:ext uri="{FF2B5EF4-FFF2-40B4-BE49-F238E27FC236}">
                <a16:creationId xmlns:a16="http://schemas.microsoft.com/office/drawing/2014/main" id="{54538D28-7DC0-5CCB-AA91-559C32326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684569" y="6498771"/>
            <a:ext cx="9726448" cy="751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99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1423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270851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39853" y="5356043"/>
            <a:ext cx="5285090" cy="44604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dd underlin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567056" y="5356043"/>
            <a:ext cx="5285090" cy="44604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underline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339852" y="1461557"/>
            <a:ext cx="5285090" cy="154969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de-DE" b="0" dirty="0">
                <a:latin typeface="+mj-lt"/>
              </a:defRPr>
            </a:lvl1pPr>
          </a:lstStyle>
          <a:p>
            <a:pPr marL="0" marR="0" lvl="0" indent="0" defTabSz="457189" fontAlgn="auto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de-DE" dirty="0"/>
              <a:t>Insert text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567056" y="1461560"/>
            <a:ext cx="5285090" cy="154969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de-DE" b="0">
                <a:latin typeface="+mj-lt"/>
              </a:defRPr>
            </a:lvl1pPr>
          </a:lstStyle>
          <a:p>
            <a:pPr marL="0" marR="0" lvl="0" indent="0" defTabSz="457189" fontAlgn="auto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de-DE" dirty="0"/>
              <a:t>Insert tex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37" hasCustomPrompt="1"/>
          </p:nvPr>
        </p:nvSpPr>
        <p:spPr>
          <a:xfrm>
            <a:off x="339854" y="3011258"/>
            <a:ext cx="5285090" cy="2327275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marL="0" lvl="0" indent="0">
              <a:buFontTx/>
              <a:buNone/>
            </a:pPr>
            <a:r>
              <a:rPr lang="de-DE"/>
              <a:t>Pictur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6567056" y="3011258"/>
            <a:ext cx="5285090" cy="2327275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marL="0" lvl="0" indent="0">
              <a:buFontTx/>
              <a:buNone/>
            </a:pPr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431473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9FF93C-FC33-4172-9C19-A73488365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39852" y="1461558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Insert headline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461558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297452" y="1461558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7" hasCustomPrompt="1"/>
          </p:nvPr>
        </p:nvSpPr>
        <p:spPr>
          <a:xfrm>
            <a:off x="339852" y="2503441"/>
            <a:ext cx="3554696" cy="3222445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4322195" y="2503441"/>
            <a:ext cx="3554696" cy="3222445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39" hasCustomPrompt="1"/>
          </p:nvPr>
        </p:nvSpPr>
        <p:spPr>
          <a:xfrm>
            <a:off x="8297451" y="2503441"/>
            <a:ext cx="3554696" cy="3222445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03491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ith Im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90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70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8183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2F81B2-4F7C-4C2E-AC09-A97C3A5E35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373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39852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Insert headline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267443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22626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7" hasCustomPrompt="1"/>
          </p:nvPr>
        </p:nvSpPr>
        <p:spPr>
          <a:xfrm>
            <a:off x="339852" y="2503441"/>
            <a:ext cx="2729522" cy="3265988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3267443" y="2503441"/>
            <a:ext cx="2729522" cy="3265988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39" hasCustomPrompt="1"/>
          </p:nvPr>
        </p:nvSpPr>
        <p:spPr>
          <a:xfrm>
            <a:off x="9122626" y="2503441"/>
            <a:ext cx="2729522" cy="3265988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6195034" y="1461558"/>
            <a:ext cx="2729522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/>
              <a:buNone/>
              <a:tabLst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Insert headlin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41" hasCustomPrompt="1"/>
          </p:nvPr>
        </p:nvSpPr>
        <p:spPr>
          <a:xfrm>
            <a:off x="6195034" y="2503441"/>
            <a:ext cx="2729522" cy="3265988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25486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3 Columns and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538886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39852" y="5492520"/>
            <a:ext cx="3554696" cy="26602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492520"/>
            <a:ext cx="3554696" cy="26602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297452" y="5492520"/>
            <a:ext cx="3554696" cy="26602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39852" y="1461558"/>
            <a:ext cx="3554696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2196" y="1461558"/>
            <a:ext cx="3554696" cy="211378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297452" y="1461558"/>
            <a:ext cx="3554696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339852" y="3570057"/>
            <a:ext cx="3554696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44" hasCustomPrompt="1"/>
          </p:nvPr>
        </p:nvSpPr>
        <p:spPr>
          <a:xfrm>
            <a:off x="4322195" y="3570057"/>
            <a:ext cx="3554696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8297452" y="3570057"/>
            <a:ext cx="3554696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569769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4 Columns &amp;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50362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39852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3267443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9122626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39852" y="1461558"/>
            <a:ext cx="2729522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3267443" y="1461558"/>
            <a:ext cx="2729522" cy="211378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42" hasCustomPrompt="1"/>
          </p:nvPr>
        </p:nvSpPr>
        <p:spPr>
          <a:xfrm>
            <a:off x="9122626" y="1461558"/>
            <a:ext cx="2729522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339852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44" hasCustomPrompt="1"/>
          </p:nvPr>
        </p:nvSpPr>
        <p:spPr>
          <a:xfrm>
            <a:off x="3267443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9122626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45" hasCustomPrompt="1"/>
          </p:nvPr>
        </p:nvSpPr>
        <p:spPr>
          <a:xfrm>
            <a:off x="6195034" y="5492520"/>
            <a:ext cx="2729522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caption</a:t>
            </a:r>
            <a:endParaRPr lang="de-DE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6" hasCustomPrompt="1"/>
          </p:nvPr>
        </p:nvSpPr>
        <p:spPr>
          <a:xfrm>
            <a:off x="6195034" y="1461558"/>
            <a:ext cx="2729522" cy="21114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text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47" hasCustomPrompt="1"/>
          </p:nvPr>
        </p:nvSpPr>
        <p:spPr>
          <a:xfrm>
            <a:off x="6195034" y="3570057"/>
            <a:ext cx="2729522" cy="1916113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1422165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ext and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82E807-4BDA-4F98-9983-D05F7D123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11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6283036" y="1461557"/>
            <a:ext cx="5569112" cy="4585951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3A1A04A-8930-4130-8B75-8C3AD9B94F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852" y="1461557"/>
            <a:ext cx="5569112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</p:spTree>
    <p:extLst>
      <p:ext uri="{BB962C8B-B14F-4D97-AF65-F5344CB8AC3E}">
        <p14:creationId xmlns:p14="http://schemas.microsoft.com/office/powerpoint/2010/main" val="3129264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ext and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1D84B8-2423-4D13-9C4B-63EC131C0A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9738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339852" y="1461558"/>
            <a:ext cx="5568696" cy="4373185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77345EF-C3C3-4D31-BCD4-1875DE8D4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3452" y="1461558"/>
            <a:ext cx="5568696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</p:spTree>
    <p:extLst>
      <p:ext uri="{BB962C8B-B14F-4D97-AF65-F5344CB8AC3E}">
        <p14:creationId xmlns:p14="http://schemas.microsoft.com/office/powerpoint/2010/main" val="37744295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ext &amp; Sma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16437F-F1B7-4633-BB98-154D06635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229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852" y="527632"/>
            <a:ext cx="11512296" cy="492443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de-DE" dirty="0"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8288211" y="1461558"/>
            <a:ext cx="3563937" cy="4429424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7466B07-7CC1-47CD-81A1-923CEF5805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852" y="1461557"/>
            <a:ext cx="7427175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</p:spTree>
    <p:extLst>
      <p:ext uri="{BB962C8B-B14F-4D97-AF65-F5344CB8AC3E}">
        <p14:creationId xmlns:p14="http://schemas.microsoft.com/office/powerpoint/2010/main" val="27438900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20838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47492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B4B675A-0708-3EDC-3849-67F94BE90015}"/>
              </a:ext>
            </a:extLst>
          </p:cNvPr>
          <p:cNvSpPr txBox="1"/>
          <p:nvPr userDrawn="1"/>
        </p:nvSpPr>
        <p:spPr>
          <a:xfrm>
            <a:off x="2960914" y="1828800"/>
            <a:ext cx="619397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Thank you!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7051A44-586D-BF84-3C8C-E3C1EFEF0D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60914" y="2773522"/>
            <a:ext cx="7427175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 marL="228600" indent="-228600">
              <a:spcAft>
                <a:spcPts val="600"/>
              </a:spcAft>
              <a:defRPr/>
            </a:lvl2pPr>
            <a:lvl3pPr marL="457200" indent="-228600">
              <a:spcAft>
                <a:spcPts val="600"/>
              </a:spcAft>
              <a:defRPr/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/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</p:spTree>
    <p:extLst>
      <p:ext uri="{BB962C8B-B14F-4D97-AF65-F5344CB8AC3E}">
        <p14:creationId xmlns:p14="http://schemas.microsoft.com/office/powerpoint/2010/main" val="20295057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222355E-5E54-A5A3-E9B5-9E11A9E9B748}"/>
              </a:ext>
            </a:extLst>
          </p:cNvPr>
          <p:cNvSpPr txBox="1"/>
          <p:nvPr userDrawn="1"/>
        </p:nvSpPr>
        <p:spPr>
          <a:xfrm>
            <a:off x="2960914" y="1828800"/>
            <a:ext cx="619397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43DC793-FAE8-CF65-F65E-46340CE7FE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60914" y="2773522"/>
            <a:ext cx="7427175" cy="184665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2pPr marL="2286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457200" indent="-228600"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marL="685800" indent="-22860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/>
            </a:lvl5pPr>
            <a:lvl6pPr>
              <a:spcAft>
                <a:spcPts val="600"/>
              </a:spcAft>
              <a:defRPr>
                <a:solidFill>
                  <a:schemeClr val="bg1"/>
                </a:solidFill>
              </a:defRPr>
            </a:lvl6pPr>
          </a:lstStyle>
          <a:p>
            <a:r>
              <a:rPr lang="en-US" dirty="0"/>
              <a:t>Content</a:t>
            </a:r>
          </a:p>
          <a:p>
            <a:pPr lvl="1"/>
            <a:r>
              <a:rPr lang="en-US" dirty="0"/>
              <a:t>First bullet</a:t>
            </a:r>
          </a:p>
          <a:p>
            <a:pPr lvl="2"/>
            <a:r>
              <a:rPr lang="en-US" dirty="0"/>
              <a:t>Second bullet</a:t>
            </a:r>
          </a:p>
          <a:p>
            <a:pPr lvl="3"/>
            <a:r>
              <a:rPr lang="en-US" dirty="0"/>
              <a:t>Third bullet</a:t>
            </a:r>
          </a:p>
          <a:p>
            <a:pPr lvl="5"/>
            <a:r>
              <a:rPr lang="en-US" dirty="0"/>
              <a:t>Fourth bullet</a:t>
            </a:r>
          </a:p>
        </p:txBody>
      </p:sp>
    </p:spTree>
    <p:extLst>
      <p:ext uri="{BB962C8B-B14F-4D97-AF65-F5344CB8AC3E}">
        <p14:creationId xmlns:p14="http://schemas.microsoft.com/office/powerpoint/2010/main" val="34416129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009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69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Im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37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159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342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3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Im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F874363-7A41-4AF5-AE48-7A74D0A8C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52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F874363-7A41-4AF5-AE48-7A74D0A8C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17F2B7-1CC2-4C52-8AAD-2DA8126C4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419" y="2392782"/>
            <a:ext cx="5860472" cy="1477328"/>
          </a:xfrm>
        </p:spPr>
        <p:txBody>
          <a:bodyPr vert="horz" wrap="square" anchor="ctr">
            <a:spAutoFit/>
          </a:bodyPr>
          <a:lstStyle>
            <a:lvl1pPr algn="ctr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08E770-F78C-4B65-A5D8-9D0C0E805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19" y="4475922"/>
            <a:ext cx="586047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1C332475-0049-4FE7-A982-E9BA4507C3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1103" y="0"/>
            <a:ext cx="5370897" cy="6858000"/>
          </a:xfrm>
          <a:pattFill prst="pct90">
            <a:fgClr>
              <a:schemeClr val="bg1">
                <a:lumMod val="95000"/>
              </a:schemeClr>
            </a:fgClr>
            <a:bgClr>
              <a:schemeClr val="bg1">
                <a:lumMod val="65000"/>
              </a:schemeClr>
            </a:bgClr>
          </a:pattFill>
        </p:spPr>
        <p:txBody>
          <a:bodyPr vert="horz" lIns="0" tIns="0" rIns="0" bIns="0" rtlCol="0" anchor="ctr" anchorCtr="1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D9DAD-AFC3-470F-847D-9C293FD071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00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609D3C-BC29-4694-B89A-268F8CEBD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158137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272" imgH="272" progId="TCLayout.ActiveDocument.1">
                  <p:embed/>
                </p:oleObj>
              </mc:Choice>
              <mc:Fallback>
                <p:oleObj name="think-cell Slide" r:id="rId62" imgW="272" imgH="2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BF1F4B-D731-4391-9291-628B25F01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C30CE96-0688-4A7A-AC7B-45AAF84E3C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0093" y="1579347"/>
            <a:ext cx="11511814" cy="184665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286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First level</a:t>
            </a:r>
          </a:p>
          <a:p>
            <a:pPr marL="4572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Nunito Light" panose="00000400000000000000" pitchFamily="2" charset="0"/>
              <a:buChar char="–"/>
            </a:pPr>
            <a:r>
              <a:rPr lang="en-US" dirty="0"/>
              <a:t>Second level</a:t>
            </a:r>
          </a:p>
          <a:p>
            <a:pPr marL="685800" lvl="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14400" lvl="5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dirty="0"/>
              <a:t>Fourth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E19E1E4-9F3D-4951-8BF5-71640ADCFF5E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5400000" flipV="1">
            <a:off x="-1878063" y="1307487"/>
            <a:ext cx="3021830" cy="406856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E3281F7-32A0-4281-84B2-AD25070B9C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684569" y="6498771"/>
            <a:ext cx="9726448" cy="751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/>
              </a:gs>
              <a:gs pos="99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EC2F39C-2C14-4BD3-9013-6BC422037DE7}"/>
              </a:ext>
            </a:extLst>
          </p:cNvPr>
          <p:cNvSpPr txBox="1">
            <a:spLocks/>
          </p:cNvSpPr>
          <p:nvPr userDrawn="1"/>
        </p:nvSpPr>
        <p:spPr>
          <a:xfrm>
            <a:off x="11588267" y="6373769"/>
            <a:ext cx="308840" cy="308840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FB2857D4-DF14-4ED6-B98D-650175A372FC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E1D1042-073F-4618-9651-AB958BFE2E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30174" y="527632"/>
            <a:ext cx="99897" cy="492443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807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94" r:id="rId2"/>
    <p:sldLayoutId id="2147483695" r:id="rId3"/>
    <p:sldLayoutId id="2147483663" r:id="rId4"/>
    <p:sldLayoutId id="2147483701" r:id="rId5"/>
    <p:sldLayoutId id="2147483700" r:id="rId6"/>
    <p:sldLayoutId id="2147483702" r:id="rId7"/>
    <p:sldLayoutId id="2147483703" r:id="rId8"/>
    <p:sldLayoutId id="2147483704" r:id="rId9"/>
    <p:sldLayoutId id="2147483699" r:id="rId10"/>
    <p:sldLayoutId id="2147483705" r:id="rId11"/>
    <p:sldLayoutId id="2147483678" r:id="rId12"/>
    <p:sldLayoutId id="2147483679" r:id="rId13"/>
    <p:sldLayoutId id="2147483650" r:id="rId14"/>
    <p:sldLayoutId id="2147483674" r:id="rId15"/>
    <p:sldLayoutId id="2147483707" r:id="rId16"/>
    <p:sldLayoutId id="2147483706" r:id="rId17"/>
    <p:sldLayoutId id="2147483675" r:id="rId18"/>
    <p:sldLayoutId id="2147483684" r:id="rId19"/>
    <p:sldLayoutId id="2147483689" r:id="rId20"/>
    <p:sldLayoutId id="2147483691" r:id="rId21"/>
    <p:sldLayoutId id="2147483708" r:id="rId22"/>
    <p:sldLayoutId id="2147483709" r:id="rId23"/>
    <p:sldLayoutId id="2147483710" r:id="rId24"/>
    <p:sldLayoutId id="2147483719" r:id="rId25"/>
    <p:sldLayoutId id="2147483661" r:id="rId26"/>
    <p:sldLayoutId id="2147483716" r:id="rId27"/>
    <p:sldLayoutId id="2147483685" r:id="rId28"/>
    <p:sldLayoutId id="2147483683" r:id="rId29"/>
    <p:sldLayoutId id="2147483688" r:id="rId30"/>
    <p:sldLayoutId id="2147483681" r:id="rId31"/>
    <p:sldLayoutId id="2147483677" r:id="rId32"/>
    <p:sldLayoutId id="2147483692" r:id="rId33"/>
    <p:sldLayoutId id="2147483711" r:id="rId34"/>
    <p:sldLayoutId id="2147483713" r:id="rId35"/>
    <p:sldLayoutId id="2147483714" r:id="rId36"/>
    <p:sldLayoutId id="2147483720" r:id="rId37"/>
    <p:sldLayoutId id="2147483690" r:id="rId38"/>
    <p:sldLayoutId id="2147483712" r:id="rId39"/>
    <p:sldLayoutId id="2147483715" r:id="rId40"/>
    <p:sldLayoutId id="2147483721" r:id="rId41"/>
    <p:sldLayoutId id="2147483693" r:id="rId42"/>
    <p:sldLayoutId id="2147483664" r:id="rId43"/>
    <p:sldLayoutId id="2147483662" r:id="rId44"/>
    <p:sldLayoutId id="2147483717" r:id="rId45"/>
    <p:sldLayoutId id="2147483718" r:id="rId46"/>
    <p:sldLayoutId id="2147483722" r:id="rId47"/>
    <p:sldLayoutId id="2147483665" r:id="rId48"/>
    <p:sldLayoutId id="2147483666" r:id="rId49"/>
    <p:sldLayoutId id="2147483667" r:id="rId50"/>
    <p:sldLayoutId id="2147483668" r:id="rId51"/>
    <p:sldLayoutId id="2147483669" r:id="rId52"/>
    <p:sldLayoutId id="2147483670" r:id="rId53"/>
    <p:sldLayoutId id="2147483671" r:id="rId54"/>
    <p:sldLayoutId id="2147483672" r:id="rId55"/>
    <p:sldLayoutId id="2147483655" r:id="rId56"/>
    <p:sldLayoutId id="2147483696" r:id="rId57"/>
    <p:sldLayoutId id="2147483697" r:id="rId58"/>
    <p:sldLayoutId id="2147483698" r:id="rId5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200" b="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Wingdings" panose="05000000000000000000" pitchFamily="2" charset="2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85750" indent="-285750" algn="l" defTabSz="914400" rtl="0" eaLnBrk="1" latinLnBrk="0" hangingPunct="1">
        <a:lnSpc>
          <a:spcPct val="100000"/>
        </a:lnSpc>
        <a:spcBef>
          <a:spcPts val="0"/>
        </a:spcBef>
        <a:buFont typeface="Nunito Light" panose="00000400000000000000" pitchFamily="2" charset="0"/>
        <a:buChar char="–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2857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Nunito Light" panose="00000400000000000000" pitchFamily="2" charset="0"/>
        <a:buChar char="–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57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ourier New" panose="02070309020205020404" pitchFamily="49" charset="0"/>
        <a:buChar char="o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microsoft.com/office/2017/04/relationships/track" Target="../media/track1.vtt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58.xml"/><Relationship Id="rId7" Type="http://schemas.openxmlformats.org/officeDocument/2006/relationships/image" Target="../media/image5.png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microsoft.com/office/2017/04/relationships/track" Target="../media/track2.vtt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microsoft.com/office/2017/04/relationships/track" Target="../media/track3.vtt"/><Relationship Id="rId5" Type="http://schemas.openxmlformats.org/officeDocument/2006/relationships/image" Target="../media/image6.jp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audio" Target="../media/media4.m4a"/><Relationship Id="rId7" Type="http://schemas.openxmlformats.org/officeDocument/2006/relationships/image" Target="../media/image1.emf"/><Relationship Id="rId2" Type="http://schemas.microsoft.com/office/2007/relationships/media" Target="../media/media4.m4a"/><Relationship Id="rId1" Type="http://schemas.openxmlformats.org/officeDocument/2006/relationships/tags" Target="../tags/tag59.x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0.xml"/><Relationship Id="rId9" Type="http://schemas.microsoft.com/office/2017/04/relationships/track" Target="../media/track4.vtt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audio" Target="../media/media5.m4a"/><Relationship Id="rId7" Type="http://schemas.openxmlformats.org/officeDocument/2006/relationships/image" Target="../media/image1.emf"/><Relationship Id="rId2" Type="http://schemas.microsoft.com/office/2007/relationships/media" Target="../media/media5.m4a"/><Relationship Id="rId1" Type="http://schemas.openxmlformats.org/officeDocument/2006/relationships/tags" Target="../tags/tag60.x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0.xml"/><Relationship Id="rId9" Type="http://schemas.microsoft.com/office/2017/04/relationships/track" Target="../media/track5.vtt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5.png"/><Relationship Id="rId3" Type="http://schemas.openxmlformats.org/officeDocument/2006/relationships/audio" Target="../media/media6.m4a"/><Relationship Id="rId7" Type="http://schemas.openxmlformats.org/officeDocument/2006/relationships/image" Target="../media/image10.png"/><Relationship Id="rId12" Type="http://schemas.microsoft.com/office/2017/04/relationships/track" Target="../media/track6.vtt"/><Relationship Id="rId2" Type="http://schemas.microsoft.com/office/2007/relationships/media" Target="../media/media6.m4a"/><Relationship Id="rId1" Type="http://schemas.openxmlformats.org/officeDocument/2006/relationships/tags" Target="../tags/tag61.xml"/><Relationship Id="rId6" Type="http://schemas.openxmlformats.org/officeDocument/2006/relationships/image" Target="../media/image9.png"/><Relationship Id="rId11" Type="http://schemas.openxmlformats.org/officeDocument/2006/relationships/hyperlink" Target="https://www.cms.gov/files/document/som-appendix.pdf" TargetMode="External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image" Target="../media/image5.png"/><Relationship Id="rId5" Type="http://schemas.microsoft.com/office/2017/04/relationships/track" Target="../media/track7.vtt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17/04/relationships/track" Target="../media/track8.vtt"/><Relationship Id="rId3" Type="http://schemas.openxmlformats.org/officeDocument/2006/relationships/audio" Target="../media/media8.m4a"/><Relationship Id="rId7" Type="http://schemas.openxmlformats.org/officeDocument/2006/relationships/image" Target="../media/image1.emf"/><Relationship Id="rId2" Type="http://schemas.microsoft.com/office/2007/relationships/media" Target="../media/media8.m4a"/><Relationship Id="rId1" Type="http://schemas.openxmlformats.org/officeDocument/2006/relationships/tags" Target="../tags/tag62.x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28552A3-600D-F23B-222A-46B73CBEBF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0419" y="2023451"/>
            <a:ext cx="5860472" cy="2215991"/>
          </a:xfrm>
        </p:spPr>
        <p:txBody>
          <a:bodyPr/>
          <a:lstStyle/>
          <a:p>
            <a:r>
              <a:rPr lang="en-US" dirty="0"/>
              <a:t>Ordering Privileges and Delegated Ord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AF9A54-E44E-DC37-246D-9024BECD1DF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Placeholder 10" descr="Person in clinical dress using iPad">
            <a:extLst>
              <a:ext uri="{FF2B5EF4-FFF2-40B4-BE49-F238E27FC236}">
                <a16:creationId xmlns:a16="http://schemas.microsoft.com/office/drawing/2014/main" id="{429EE338-3B45-28A7-78A8-DA998DF27ED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l="23869" r="23869"/>
          <a:stretch/>
        </p:blipFill>
        <p:spPr/>
      </p:pic>
      <p:pic>
        <p:nvPicPr>
          <p:cNvPr id="20" name="Audio 19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7398595F-D455-B262-E00D-94F02DB7E30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5F2E362E-FD19-EA46-AA66-0D84CBA71F4F}" label="" lang="en-us" r:embed="rId6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7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0312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177"/>
    </mc:Choice>
    <mc:Fallback xmlns="">
      <p:transition spd="slow" advTm="1817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0093" y="527632"/>
            <a:ext cx="11511814" cy="492443"/>
          </a:xfrm>
        </p:spPr>
        <p:txBody>
          <a:bodyPr vert="horz"/>
          <a:lstStyle/>
          <a:p>
            <a:r>
              <a:rPr lang="en-US" dirty="0"/>
              <a:t>Table of contents </a:t>
            </a:r>
          </a:p>
        </p:txBody>
      </p:sp>
      <p:grpSp>
        <p:nvGrpSpPr>
          <p:cNvPr id="5" name="Group 4" descr="Table of contents row 1">
            <a:extLst>
              <a:ext uri="{FF2B5EF4-FFF2-40B4-BE49-F238E27FC236}">
                <a16:creationId xmlns:a16="http://schemas.microsoft.com/office/drawing/2014/main" id="{FA19A852-C18D-C076-DDAA-5E00F475A62E}"/>
              </a:ext>
            </a:extLst>
          </p:cNvPr>
          <p:cNvGrpSpPr/>
          <p:nvPr/>
        </p:nvGrpSpPr>
        <p:grpSpPr>
          <a:xfrm>
            <a:off x="2066341" y="1734590"/>
            <a:ext cx="7830450" cy="739690"/>
            <a:chOff x="2066341" y="1734590"/>
            <a:chExt cx="7830450" cy="739690"/>
          </a:xfrm>
        </p:grpSpPr>
        <p:sp>
          <p:nvSpPr>
            <p:cNvPr id="11" name="TextBox 10"/>
            <p:cNvSpPr txBox="1"/>
            <p:nvPr/>
          </p:nvSpPr>
          <p:spPr>
            <a:xfrm>
              <a:off x="2295209" y="1734590"/>
              <a:ext cx="7601582" cy="7396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5400">
              <a:noFill/>
            </a:ln>
          </p:spPr>
          <p:txBody>
            <a:bodyPr wrap="square" lIns="365760" tIns="76200" rIns="76200" bIns="76200" anchor="ctr">
              <a:no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algn="l"/>
              <a:r>
                <a:rPr lang="en-US" sz="2000" dirty="0"/>
                <a:t>Delegated Orders for Long-Term Care Facilities</a:t>
              </a:r>
            </a:p>
          </p:txBody>
        </p:sp>
        <p:sp>
          <p:nvSpPr>
            <p:cNvPr id="12" name="Oval 11"/>
            <p:cNvSpPr/>
            <p:nvPr/>
          </p:nvSpPr>
          <p:spPr>
            <a:xfrm>
              <a:off x="2066341" y="1875568"/>
              <a:ext cx="457734" cy="457734"/>
            </a:xfrm>
            <a:prstGeom prst="ellipse">
              <a:avLst/>
            </a:prstGeom>
            <a:solidFill>
              <a:schemeClr val="accent6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>
                  <a:latin typeface="+mj-lt"/>
                </a:rPr>
                <a:t>1</a:t>
              </a:r>
            </a:p>
          </p:txBody>
        </p:sp>
      </p:grpSp>
      <p:grpSp>
        <p:nvGrpSpPr>
          <p:cNvPr id="6" name="Group 5" descr="Table of contents row 2">
            <a:extLst>
              <a:ext uri="{FF2B5EF4-FFF2-40B4-BE49-F238E27FC236}">
                <a16:creationId xmlns:a16="http://schemas.microsoft.com/office/drawing/2014/main" id="{947C3F18-F0E4-CC64-1ACE-62E7CDE8D3DB}"/>
              </a:ext>
            </a:extLst>
          </p:cNvPr>
          <p:cNvGrpSpPr/>
          <p:nvPr/>
        </p:nvGrpSpPr>
        <p:grpSpPr>
          <a:xfrm>
            <a:off x="2066341" y="2723073"/>
            <a:ext cx="7830450" cy="739690"/>
            <a:chOff x="2066341" y="2723073"/>
            <a:chExt cx="7830450" cy="739690"/>
          </a:xfrm>
        </p:grpSpPr>
        <p:sp>
          <p:nvSpPr>
            <p:cNvPr id="16" name="TextBox 15"/>
            <p:cNvSpPr txBox="1"/>
            <p:nvPr/>
          </p:nvSpPr>
          <p:spPr>
            <a:xfrm>
              <a:off x="2295209" y="2723073"/>
              <a:ext cx="7601582" cy="7396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5400">
              <a:noFill/>
            </a:ln>
          </p:spPr>
          <p:txBody>
            <a:bodyPr wrap="square" lIns="365760" tIns="76200" rIns="76200" bIns="76200" anchor="ctr">
              <a:no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algn="l"/>
              <a:r>
                <a:rPr lang="en-US" sz="2000" dirty="0"/>
                <a:t>Hospital Regulations on Ordering Privileges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2066341" y="2864051"/>
              <a:ext cx="457734" cy="457734"/>
            </a:xfrm>
            <a:prstGeom prst="ellipse">
              <a:avLst/>
            </a:prstGeom>
            <a:solidFill>
              <a:schemeClr val="accent6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>
                  <a:latin typeface="+mj-lt"/>
                </a:rPr>
                <a:t>2</a:t>
              </a:r>
            </a:p>
          </p:txBody>
        </p:sp>
      </p:grpSp>
      <p:grpSp>
        <p:nvGrpSpPr>
          <p:cNvPr id="7" name="Group 6" descr="Table of contents row 3">
            <a:extLst>
              <a:ext uri="{FF2B5EF4-FFF2-40B4-BE49-F238E27FC236}">
                <a16:creationId xmlns:a16="http://schemas.microsoft.com/office/drawing/2014/main" id="{50AFF626-0C8E-79C8-2316-BCF74A3BB132}"/>
              </a:ext>
            </a:extLst>
          </p:cNvPr>
          <p:cNvGrpSpPr/>
          <p:nvPr/>
        </p:nvGrpSpPr>
        <p:grpSpPr>
          <a:xfrm>
            <a:off x="2066341" y="3711556"/>
            <a:ext cx="7830450" cy="739690"/>
            <a:chOff x="2066341" y="3711556"/>
            <a:chExt cx="7830450" cy="739690"/>
          </a:xfrm>
        </p:grpSpPr>
        <p:sp>
          <p:nvSpPr>
            <p:cNvPr id="19" name="TextBox 18"/>
            <p:cNvSpPr txBox="1"/>
            <p:nvPr/>
          </p:nvSpPr>
          <p:spPr>
            <a:xfrm>
              <a:off x="2295209" y="3711556"/>
              <a:ext cx="7601582" cy="7396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5400">
              <a:noFill/>
            </a:ln>
          </p:spPr>
          <p:txBody>
            <a:bodyPr wrap="square" lIns="365760" tIns="76200" rIns="76200" bIns="76200" anchor="ctr">
              <a:no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algn="l"/>
              <a:r>
                <a:rPr lang="en-US" sz="2000" dirty="0"/>
                <a:t>Implementation Steps</a:t>
              </a:r>
            </a:p>
          </p:txBody>
        </p:sp>
        <p:sp>
          <p:nvSpPr>
            <p:cNvPr id="20" name="Oval 19"/>
            <p:cNvSpPr/>
            <p:nvPr/>
          </p:nvSpPr>
          <p:spPr>
            <a:xfrm>
              <a:off x="2066341" y="3852534"/>
              <a:ext cx="457734" cy="457734"/>
            </a:xfrm>
            <a:prstGeom prst="ellipse">
              <a:avLst/>
            </a:prstGeom>
            <a:solidFill>
              <a:schemeClr val="accent6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>
                  <a:latin typeface="+mj-lt"/>
                </a:rPr>
                <a:t>3</a:t>
              </a:r>
            </a:p>
          </p:txBody>
        </p:sp>
      </p:grpSp>
      <p:grpSp>
        <p:nvGrpSpPr>
          <p:cNvPr id="8" name="Group 7" descr="Table of contents row 4">
            <a:extLst>
              <a:ext uri="{FF2B5EF4-FFF2-40B4-BE49-F238E27FC236}">
                <a16:creationId xmlns:a16="http://schemas.microsoft.com/office/drawing/2014/main" id="{2B506439-535F-BBFB-6102-AEBBA7403407}"/>
              </a:ext>
            </a:extLst>
          </p:cNvPr>
          <p:cNvGrpSpPr/>
          <p:nvPr/>
        </p:nvGrpSpPr>
        <p:grpSpPr>
          <a:xfrm>
            <a:off x="2066341" y="4700039"/>
            <a:ext cx="7830450" cy="739690"/>
            <a:chOff x="2066341" y="4700039"/>
            <a:chExt cx="7830450" cy="739690"/>
          </a:xfrm>
        </p:grpSpPr>
        <p:sp>
          <p:nvSpPr>
            <p:cNvPr id="22" name="TextBox 21"/>
            <p:cNvSpPr txBox="1"/>
            <p:nvPr/>
          </p:nvSpPr>
          <p:spPr>
            <a:xfrm>
              <a:off x="2295209" y="4700039"/>
              <a:ext cx="7601582" cy="7396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5400">
              <a:noFill/>
            </a:ln>
          </p:spPr>
          <p:txBody>
            <a:bodyPr wrap="square" lIns="365760" tIns="76200" rIns="76200" bIns="76200" anchor="ctr">
              <a:no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pPr algn="l"/>
              <a:r>
                <a:rPr lang="en-US" sz="2000" dirty="0"/>
                <a:t>Navigating CMS Regulations </a:t>
              </a:r>
            </a:p>
          </p:txBody>
        </p:sp>
        <p:sp>
          <p:nvSpPr>
            <p:cNvPr id="23" name="Oval 22"/>
            <p:cNvSpPr/>
            <p:nvPr/>
          </p:nvSpPr>
          <p:spPr>
            <a:xfrm>
              <a:off x="2066341" y="4841017"/>
              <a:ext cx="457734" cy="457734"/>
            </a:xfrm>
            <a:prstGeom prst="ellipse">
              <a:avLst/>
            </a:prstGeom>
            <a:solidFill>
              <a:schemeClr val="accent6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>
                  <a:latin typeface="+mj-lt"/>
                </a:rPr>
                <a:t>4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B1A5596-2949-BE67-9CEB-97097C972B13}"/>
              </a:ext>
            </a:extLst>
          </p:cNvPr>
          <p:cNvSpPr txBox="1"/>
          <p:nvPr/>
        </p:nvSpPr>
        <p:spPr>
          <a:xfrm>
            <a:off x="4584700" y="6604084"/>
            <a:ext cx="3022600" cy="2539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9683E"/>
              </a:buClr>
              <a:buSzTx/>
              <a:tabLst/>
              <a:defRPr/>
            </a:pPr>
            <a:r>
              <a:rPr lang="en-US" sz="1050" kern="0" dirty="0">
                <a:solidFill>
                  <a:srgbClr val="000000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© 2026 Academy of Nutrition and Dietetics 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Audio 13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2B85357A-2391-7889-2B28-8023FA86BFF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CE1903B5-1DFA-7B47-B3DF-7463399A570B}" label="" lang="en-us" r:embed="rId6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7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66771E95-1F7A-42DE-BA09-208A0BFA9C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04853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2" imgH="272" progId="TCLayout.ActiveDocument.1">
                  <p:embed/>
                </p:oleObj>
              </mc:Choice>
              <mc:Fallback>
                <p:oleObj name="think-cell Slide" r:id="rId8" imgW="272" imgH="27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771E95-1F7A-42DE-BA09-208A0BFA9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0559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602"/>
    </mc:Choice>
    <mc:Fallback xmlns="">
      <p:transition spd="slow" advTm="206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BF38C9-B439-E4A0-1C91-1ED2DE3F0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egated Orders- LTC</a:t>
            </a:r>
          </a:p>
        </p:txBody>
      </p:sp>
      <p:pic>
        <p:nvPicPr>
          <p:cNvPr id="9" name="Content Placeholder 8" descr="Old women in retirement home">
            <a:extLst>
              <a:ext uri="{FF2B5EF4-FFF2-40B4-BE49-F238E27FC236}">
                <a16:creationId xmlns:a16="http://schemas.microsoft.com/office/drawing/2014/main" id="{8EB63614-9DFC-4147-2816-25E43FC77D64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5"/>
          <a:stretch>
            <a:fillRect/>
          </a:stretch>
        </p:blipFill>
        <p:spPr>
          <a:xfrm>
            <a:off x="328613" y="1394340"/>
            <a:ext cx="5562600" cy="3701020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6E1353-5853-C5C0-FEF7-7CA6A8FD72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61504" y="1582337"/>
            <a:ext cx="5561943" cy="277779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Long-Term Care Final Rule, published October 4,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esulted in significant changes to the CMS State Operations Manual (SOM) Appendix PP LTC regulations effective November 2017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utlined the attending physician may delegate prescribing a resident’s diet to a qualified dietitian or other clinically qualified nutrition professional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1D356B-BFDF-9006-6CED-5E1E2701F5F0}"/>
              </a:ext>
            </a:extLst>
          </p:cNvPr>
          <p:cNvSpPr txBox="1"/>
          <p:nvPr/>
        </p:nvSpPr>
        <p:spPr>
          <a:xfrm>
            <a:off x="7631175" y="6604084"/>
            <a:ext cx="3022600" cy="2539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>
              <a:buClr>
                <a:srgbClr val="39683E"/>
              </a:buClr>
              <a:defRPr/>
            </a:pPr>
            <a:r>
              <a:rPr lang="en-US" sz="1050" kern="0" dirty="0">
                <a:solidFill>
                  <a:srgbClr val="000000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© 2026 Academy of Nutrition and Dietetics </a:t>
            </a:r>
          </a:p>
        </p:txBody>
      </p:sp>
      <p:pic>
        <p:nvPicPr>
          <p:cNvPr id="8" name="Audio 7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BC3561D6-C7A0-0385-9655-E3BC5CF6F81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25D878E5-E955-934B-BE33-673AB0E2E0C9}" label="" lang="en-us" r:embed="rId6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7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8286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3839"/>
    </mc:Choice>
    <mc:Fallback xmlns="">
      <p:transition spd="slow" advTm="4383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03553A-F25B-4512-AAB2-A30A1EFDF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spital Ordering Privileges</a:t>
            </a:r>
            <a:endParaRPr lang="en-GB" dirty="0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17B6B004-143B-4D50-A1E3-92D7747EC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021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2" imgH="272" progId="TCLayout.ActiveDocument.1">
                  <p:embed/>
                </p:oleObj>
              </mc:Choice>
              <mc:Fallback>
                <p:oleObj name="think-cell Slide" r:id="rId6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7B6B004-143B-4D50-A1E3-92D7747EC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14FC66-9A0F-4A68-B23F-EF745545E8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094" y="1384614"/>
            <a:ext cx="5490403" cy="3077766"/>
          </a:xfrm>
        </p:spPr>
        <p:txBody>
          <a:bodyPr/>
          <a:lstStyle/>
          <a:p>
            <a:r>
              <a:rPr lang="en-US" dirty="0"/>
              <a:t>May 12, 2014, Federal Register Final Rule effective July 11, 2014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ule impacted the hospital regulations in the CMS State Operations Manuals (SOM) (Appendix A-Hospital; W-Critical Access Hospital) Conditions of Participation (CoP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ule allows hospitals the option of granting order writing privileges to qualified dietitians or clinically qualified nutrition professionals if consistent with state law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8692B6-6699-7DC5-489F-E4A02DEA66D2}"/>
              </a:ext>
            </a:extLst>
          </p:cNvPr>
          <p:cNvSpPr txBox="1"/>
          <p:nvPr/>
        </p:nvSpPr>
        <p:spPr>
          <a:xfrm>
            <a:off x="1609764" y="6604084"/>
            <a:ext cx="3022600" cy="2539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>
              <a:buClr>
                <a:srgbClr val="39683E"/>
              </a:buClr>
              <a:defRPr/>
            </a:pPr>
            <a:r>
              <a:rPr lang="en-US" sz="1050" kern="0" dirty="0">
                <a:solidFill>
                  <a:srgbClr val="000000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© 2026 Academy of Nutrition and Dietetics </a:t>
            </a:r>
          </a:p>
        </p:txBody>
      </p:sp>
      <p:pic>
        <p:nvPicPr>
          <p:cNvPr id="16" name="Picture Placeholder 15" descr="Decorative photo: Medical team joining together in a hand stack symbolizing teamwork ">
            <a:extLst>
              <a:ext uri="{FF2B5EF4-FFF2-40B4-BE49-F238E27FC236}">
                <a16:creationId xmlns:a16="http://schemas.microsoft.com/office/drawing/2014/main" id="{95B4699B-A4C8-42E2-BA26-049E3727CA9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/>
          <a:srcRect t="15440" r="1286" b="16724"/>
          <a:stretch/>
        </p:blipFill>
        <p:spPr>
          <a:xfrm>
            <a:off x="6361504" y="567267"/>
            <a:ext cx="5490403" cy="5655733"/>
          </a:xfrm>
        </p:spPr>
      </p:pic>
      <p:pic>
        <p:nvPicPr>
          <p:cNvPr id="10" name="Audio 9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6DFA1215-ADBC-46BE-1D8B-E65C8B34D386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8807F246-F4E2-204E-A89E-48055BAEE244}" label="" lang="en-us" r:embed="rId9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10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747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617"/>
    </mc:Choice>
    <mc:Fallback xmlns="">
      <p:transition spd="slow" advTm="366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03553A-F25B-4512-AAB2-A30A1EFDF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mplementation Steps </a:t>
            </a:r>
            <a:endParaRPr lang="en-GB" dirty="0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17B6B004-143B-4D50-A1E3-92D7747EC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462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2" imgH="272" progId="TCLayout.ActiveDocument.1">
                  <p:embed/>
                </p:oleObj>
              </mc:Choice>
              <mc:Fallback>
                <p:oleObj name="think-cell Slide" r:id="rId6" imgW="272" imgH="2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7B6B004-143B-4D50-A1E3-92D7747EC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Illustration of implementation steps #1-4">
            <a:extLst>
              <a:ext uri="{FF2B5EF4-FFF2-40B4-BE49-F238E27FC236}">
                <a16:creationId xmlns:a16="http://schemas.microsoft.com/office/drawing/2014/main" id="{033A0AD2-727C-B8DA-1C36-90A67A48815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759" b="51110"/>
          <a:stretch/>
        </p:blipFill>
        <p:spPr>
          <a:xfrm>
            <a:off x="206841" y="1797268"/>
            <a:ext cx="5621044" cy="3668111"/>
          </a:xfrm>
          <a:prstGeom prst="rect">
            <a:avLst/>
          </a:prstGeom>
        </p:spPr>
      </p:pic>
      <p:pic>
        <p:nvPicPr>
          <p:cNvPr id="10" name="Picture 9" descr="Illustration of implementation steps #5-8">
            <a:extLst>
              <a:ext uri="{FF2B5EF4-FFF2-40B4-BE49-F238E27FC236}">
                <a16:creationId xmlns:a16="http://schemas.microsoft.com/office/drawing/2014/main" id="{DD510549-E222-B7B3-FF9B-1CE3C8E6B79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57" t="48889" r="7139" b="4981"/>
          <a:stretch/>
        </p:blipFill>
        <p:spPr>
          <a:xfrm>
            <a:off x="6810704" y="1797268"/>
            <a:ext cx="4761195" cy="36681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BC53BB2-D837-FF72-BE49-20803302B808}"/>
              </a:ext>
            </a:extLst>
          </p:cNvPr>
          <p:cNvSpPr txBox="1"/>
          <p:nvPr/>
        </p:nvSpPr>
        <p:spPr>
          <a:xfrm>
            <a:off x="1609764" y="6604084"/>
            <a:ext cx="3022600" cy="2539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>
              <a:buClr>
                <a:srgbClr val="39683E"/>
              </a:buClr>
              <a:defRPr/>
            </a:pPr>
            <a:r>
              <a:rPr lang="en-US" sz="1050" kern="0" dirty="0">
                <a:solidFill>
                  <a:srgbClr val="000000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© 2026 Academy of Nutrition and Dietetics </a:t>
            </a:r>
          </a:p>
        </p:txBody>
      </p:sp>
      <p:pic>
        <p:nvPicPr>
          <p:cNvPr id="13" name="Audio 12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502217DF-2621-3E1C-DA09-B2E7C78BDB06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E88EF24B-7E9D-3D41-9477-BB25C0D41957}" label="" lang="en-us" r:embed="rId9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10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43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1077"/>
    </mc:Choice>
    <mc:Fallback xmlns="">
      <p:transition spd="slow" advTm="5107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6E501C3-1E81-6764-DCE9-76F73C819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Navigate</a:t>
            </a:r>
          </a:p>
        </p:txBody>
      </p:sp>
      <p:pic>
        <p:nvPicPr>
          <p:cNvPr id="12" name="Picture 11" descr="Medicare State Operations Manual Appendix">
            <a:extLst>
              <a:ext uri="{FF2B5EF4-FFF2-40B4-BE49-F238E27FC236}">
                <a16:creationId xmlns:a16="http://schemas.microsoft.com/office/drawing/2014/main" id="{AB11044D-82D9-0575-2C57-270F18D588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32592" y="3105181"/>
            <a:ext cx="2682222" cy="3145971"/>
          </a:xfrm>
          <a:prstGeom prst="rect">
            <a:avLst/>
          </a:prstGeom>
        </p:spPr>
      </p:pic>
      <p:grpSp>
        <p:nvGrpSpPr>
          <p:cNvPr id="2" name="Group 1" descr="Screenshot from CMS.gov">
            <a:extLst>
              <a:ext uri="{FF2B5EF4-FFF2-40B4-BE49-F238E27FC236}">
                <a16:creationId xmlns:a16="http://schemas.microsoft.com/office/drawing/2014/main" id="{652478A8-8F7D-804C-12CA-E079E53B1930}"/>
              </a:ext>
            </a:extLst>
          </p:cNvPr>
          <p:cNvGrpSpPr/>
          <p:nvPr/>
        </p:nvGrpSpPr>
        <p:grpSpPr>
          <a:xfrm>
            <a:off x="885666" y="1249145"/>
            <a:ext cx="4678221" cy="1616510"/>
            <a:chOff x="885666" y="1249145"/>
            <a:chExt cx="4678221" cy="161651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E27BEE5-7150-F1B9-A70A-BB266EF3A6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b="40614"/>
            <a:stretch/>
          </p:blipFill>
          <p:spPr>
            <a:xfrm>
              <a:off x="885666" y="1249145"/>
              <a:ext cx="4678221" cy="1616510"/>
            </a:xfrm>
            <a:prstGeom prst="rect">
              <a:avLst/>
            </a:prstGeom>
          </p:spPr>
        </p:pic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FB3C3A4-FF59-7C64-9F04-90BA0E738DE8}"/>
                </a:ext>
              </a:extLst>
            </p:cNvPr>
            <p:cNvSpPr/>
            <p:nvPr/>
          </p:nvSpPr>
          <p:spPr>
            <a:xfrm>
              <a:off x="2710543" y="2057400"/>
              <a:ext cx="435428" cy="413657"/>
            </a:xfrm>
            <a:prstGeom prst="ellipse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 descr="Screenshot from CMS.gov “Manuals”">
            <a:extLst>
              <a:ext uri="{FF2B5EF4-FFF2-40B4-BE49-F238E27FC236}">
                <a16:creationId xmlns:a16="http://schemas.microsoft.com/office/drawing/2014/main" id="{F9432935-FC40-3F93-9333-1B92323B4414}"/>
              </a:ext>
            </a:extLst>
          </p:cNvPr>
          <p:cNvGrpSpPr/>
          <p:nvPr/>
        </p:nvGrpSpPr>
        <p:grpSpPr>
          <a:xfrm>
            <a:off x="6398670" y="1249146"/>
            <a:ext cx="4160473" cy="1725652"/>
            <a:chOff x="6398670" y="1249146"/>
            <a:chExt cx="4160473" cy="172565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0DA26D9-25ED-E00C-017F-056634E030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b="30376"/>
            <a:stretch/>
          </p:blipFill>
          <p:spPr>
            <a:xfrm>
              <a:off x="6398670" y="1249146"/>
              <a:ext cx="4160473" cy="1725652"/>
            </a:xfrm>
            <a:prstGeom prst="rect">
              <a:avLst/>
            </a:prstGeom>
          </p:spPr>
        </p:pic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919BDF5-ED78-338E-293F-64A1974D4FC0}"/>
                </a:ext>
              </a:extLst>
            </p:cNvPr>
            <p:cNvSpPr/>
            <p:nvPr/>
          </p:nvSpPr>
          <p:spPr>
            <a:xfrm>
              <a:off x="6478930" y="2209799"/>
              <a:ext cx="909833" cy="413657"/>
            </a:xfrm>
            <a:prstGeom prst="ellipse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oup 6" descr="Screenshot from CMS.gov: “Internet-Only Manuals (IOMs)">
            <a:extLst>
              <a:ext uri="{FF2B5EF4-FFF2-40B4-BE49-F238E27FC236}">
                <a16:creationId xmlns:a16="http://schemas.microsoft.com/office/drawing/2014/main" id="{F984656A-6C5B-D972-66EB-AA5989107F8B}"/>
              </a:ext>
            </a:extLst>
          </p:cNvPr>
          <p:cNvGrpSpPr/>
          <p:nvPr/>
        </p:nvGrpSpPr>
        <p:grpSpPr>
          <a:xfrm>
            <a:off x="728382" y="2974798"/>
            <a:ext cx="3353160" cy="3460873"/>
            <a:chOff x="728382" y="2974798"/>
            <a:chExt cx="3353160" cy="346087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0C2FE77-5AEC-5C23-8674-BF983E5BA5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28382" y="2974798"/>
              <a:ext cx="3353160" cy="3460873"/>
            </a:xfrm>
            <a:prstGeom prst="rect">
              <a:avLst/>
            </a:prstGeom>
          </p:spPr>
        </p:pic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2251642-9ACF-96AA-B399-9E61695E76D3}"/>
                </a:ext>
              </a:extLst>
            </p:cNvPr>
            <p:cNvSpPr/>
            <p:nvPr/>
          </p:nvSpPr>
          <p:spPr>
            <a:xfrm>
              <a:off x="1324786" y="5519776"/>
              <a:ext cx="1385757" cy="413657"/>
            </a:xfrm>
            <a:prstGeom prst="ellipse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 descr="Screenshot from CMS.gov: Downloads">
            <a:extLst>
              <a:ext uri="{FF2B5EF4-FFF2-40B4-BE49-F238E27FC236}">
                <a16:creationId xmlns:a16="http://schemas.microsoft.com/office/drawing/2014/main" id="{378447D7-BA09-1152-17F5-95EF082B1A0A}"/>
              </a:ext>
            </a:extLst>
          </p:cNvPr>
          <p:cNvGrpSpPr/>
          <p:nvPr/>
        </p:nvGrpSpPr>
        <p:grpSpPr>
          <a:xfrm>
            <a:off x="4379065" y="2974798"/>
            <a:ext cx="2642221" cy="3276354"/>
            <a:chOff x="4379065" y="2974798"/>
            <a:chExt cx="2642221" cy="3276354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2D4047B-2D24-C3FA-210A-06E8D98DD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9065" y="2974798"/>
              <a:ext cx="2642221" cy="3276354"/>
            </a:xfrm>
            <a:prstGeom prst="rect">
              <a:avLst/>
            </a:prstGeom>
          </p:spPr>
        </p:pic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782CC63-EEC3-A5CC-D6CC-4AF05853E6AC}"/>
                </a:ext>
              </a:extLst>
            </p:cNvPr>
            <p:cNvSpPr/>
            <p:nvPr/>
          </p:nvSpPr>
          <p:spPr>
            <a:xfrm>
              <a:off x="4379065" y="4384478"/>
              <a:ext cx="1385757" cy="413657"/>
            </a:xfrm>
            <a:prstGeom prst="ellipse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9" name="Straight Arrow Connector 18" descr="Red arrow pointing to screenshot of opened link">
            <a:extLst>
              <a:ext uri="{FF2B5EF4-FFF2-40B4-BE49-F238E27FC236}">
                <a16:creationId xmlns:a16="http://schemas.microsoft.com/office/drawing/2014/main" id="{A075996B-BB02-2CFD-B6C4-BF32D49FEED0}"/>
              </a:ext>
            </a:extLst>
          </p:cNvPr>
          <p:cNvCxnSpPr/>
          <p:nvPr/>
        </p:nvCxnSpPr>
        <p:spPr>
          <a:xfrm>
            <a:off x="5563887" y="2209799"/>
            <a:ext cx="834783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 descr="Red arrow pointing to screenshot of opened link">
            <a:extLst>
              <a:ext uri="{FF2B5EF4-FFF2-40B4-BE49-F238E27FC236}">
                <a16:creationId xmlns:a16="http://schemas.microsoft.com/office/drawing/2014/main" id="{A7947B5A-DC4D-E4EB-2306-28A6270D0F58}"/>
              </a:ext>
            </a:extLst>
          </p:cNvPr>
          <p:cNvCxnSpPr>
            <a:cxnSpLocks/>
          </p:cNvCxnSpPr>
          <p:nvPr/>
        </p:nvCxnSpPr>
        <p:spPr>
          <a:xfrm>
            <a:off x="3664150" y="5050970"/>
            <a:ext cx="714915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 descr="Red arrow pointing to screenshot of opened link">
            <a:extLst>
              <a:ext uri="{FF2B5EF4-FFF2-40B4-BE49-F238E27FC236}">
                <a16:creationId xmlns:a16="http://schemas.microsoft.com/office/drawing/2014/main" id="{4AB66ECC-C8DA-A80D-A9C6-BC6CE236817A}"/>
              </a:ext>
            </a:extLst>
          </p:cNvPr>
          <p:cNvCxnSpPr>
            <a:cxnSpLocks/>
          </p:cNvCxnSpPr>
          <p:nvPr/>
        </p:nvCxnSpPr>
        <p:spPr>
          <a:xfrm>
            <a:off x="7031305" y="5050970"/>
            <a:ext cx="1001287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B1B94A8-048B-581B-A6FA-883BAF65360D}"/>
              </a:ext>
            </a:extLst>
          </p:cNvPr>
          <p:cNvSpPr txBox="1"/>
          <p:nvPr/>
        </p:nvSpPr>
        <p:spPr>
          <a:xfrm>
            <a:off x="6478930" y="6251152"/>
            <a:ext cx="4794321" cy="2616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2"/>
            <a:r>
              <a:rPr lang="en-US" sz="1100" b="0" i="0" u="sng" strike="noStrike" kern="100" baseline="0" dirty="0">
                <a:solidFill>
                  <a:srgbClr val="0000FF"/>
                </a:solidFill>
                <a:hlinkClick r:id="rId11"/>
              </a:rPr>
              <a:t>https://www.cms.gov/files/document/som-appendix.pdf</a:t>
            </a:r>
            <a:endParaRPr lang="en-US" sz="1100" b="0" i="0" u="none" strike="noStrike" kern="100" baseline="0" dirty="0">
              <a:solidFill>
                <a:srgbClr val="0000FF"/>
              </a:solidFill>
              <a:hlinkClick r:id="rId11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8E3638-2703-40B5-9702-61FFFF216918}"/>
              </a:ext>
            </a:extLst>
          </p:cNvPr>
          <p:cNvSpPr txBox="1"/>
          <p:nvPr/>
        </p:nvSpPr>
        <p:spPr>
          <a:xfrm>
            <a:off x="4584700" y="6604084"/>
            <a:ext cx="3022600" cy="2539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>
              <a:buClr>
                <a:srgbClr val="39683E"/>
              </a:buClr>
              <a:defRPr/>
            </a:pPr>
            <a:r>
              <a:rPr lang="en-US" sz="1050" kern="0" dirty="0">
                <a:solidFill>
                  <a:srgbClr val="000000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© 2026 Academy of Nutrition and Dietetics </a:t>
            </a:r>
          </a:p>
        </p:txBody>
      </p:sp>
      <p:pic>
        <p:nvPicPr>
          <p:cNvPr id="21" name="Audio 20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44B86457-8736-B5BA-F125-A2AA011CA013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640ABBB7-1214-7849-8B33-EF55365ED09F}" label="" lang="en-us" r:embed="rId12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13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4429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1401"/>
    </mc:Choice>
    <mc:Fallback xmlns="">
      <p:transition spd="slow" advTm="814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1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2375FB-FC2F-A360-DF8B-C5AA1287D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3" y="527633"/>
            <a:ext cx="11511814" cy="492443"/>
          </a:xfrm>
        </p:spPr>
        <p:txBody>
          <a:bodyPr/>
          <a:lstStyle/>
          <a:p>
            <a:r>
              <a:rPr lang="en-US" dirty="0"/>
              <a:t>How to Navigate- Key Tip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46C5DCB-4497-6C19-E102-F58C1079E1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093" y="1384614"/>
            <a:ext cx="11511814" cy="3585597"/>
          </a:xfrm>
        </p:spPr>
        <p:txBody>
          <a:bodyPr/>
          <a:lstStyle/>
          <a:p>
            <a:pPr marR="0" algn="l" rtl="0">
              <a:buFont typeface="Symbol" panose="05050102010706020507" pitchFamily="18" charset="2"/>
              <a:buChar char="·"/>
            </a:pPr>
            <a:r>
              <a:rPr lang="en-US" sz="2000" b="0" i="0" u="none" strike="noStrike" kern="100" baseline="0" dirty="0"/>
              <a:t>Periodically check for updates – Revision number and Issue Date for new updates are in </a:t>
            </a:r>
            <a:r>
              <a:rPr lang="en-US" sz="2000" b="0" i="0" u="none" strike="noStrike" kern="100" baseline="0" dirty="0">
                <a:solidFill>
                  <a:srgbClr val="FF0000"/>
                </a:solidFill>
              </a:rPr>
              <a:t>red</a:t>
            </a:r>
            <a:r>
              <a:rPr lang="en-US" sz="2000" b="0" i="0" u="none" strike="noStrike" kern="100" baseline="0" dirty="0"/>
              <a:t> under “Table of Contents” </a:t>
            </a:r>
            <a:r>
              <a:rPr lang="en-US" sz="2000" b="0" i="0" strike="noStrike" kern="100" baseline="0" dirty="0"/>
              <a:t>at the top of the first page of the regulations</a:t>
            </a:r>
          </a:p>
          <a:p>
            <a:pPr marR="0" algn="l" rtl="0">
              <a:buFont typeface="Symbol" panose="05050102010706020507" pitchFamily="18" charset="2"/>
              <a:buChar char="·"/>
            </a:pPr>
            <a:r>
              <a:rPr lang="en-US" sz="2000" b="0" i="0" u="none" strike="noStrike" kern="100" baseline="0" dirty="0"/>
              <a:t>Search by regulation or TAG number – Examples – Appendix A Hospitals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000" b="0" i="0" u="none" strike="noStrike" kern="100" baseline="0" dirty="0"/>
              <a:t>§482.22(a), Tag A-0339 Appointment to Medical Staff - Non-physician practitioner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000" b="0" i="0" u="none" strike="noStrike" kern="100" baseline="0" dirty="0"/>
              <a:t>§482.28, Tag A-0618 Food and Dietetic Service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000" b="0" i="0" u="none" strike="noStrike" kern="100" baseline="0" dirty="0"/>
              <a:t>§482.28(b)(2), Tag A-0630 Ordering Therapeutic Diets - Qualified Dietitian</a:t>
            </a:r>
          </a:p>
          <a:p>
            <a:pPr marR="0" algn="l" rtl="0">
              <a:buFont typeface="Symbol" panose="05050102010706020507" pitchFamily="18" charset="2"/>
              <a:buChar char="·"/>
            </a:pPr>
            <a:r>
              <a:rPr lang="en-US" sz="2000" b="0" i="0" u="none" strike="noStrike" kern="100" baseline="0" dirty="0"/>
              <a:t>Search by “dietitian” and “dietician”; food, nutrition, privileging</a:t>
            </a:r>
          </a:p>
          <a:p>
            <a:pPr marR="0" algn="l" rtl="0">
              <a:buFont typeface="Symbol" panose="05050102010706020507" pitchFamily="18" charset="2"/>
              <a:buChar char="·"/>
            </a:pPr>
            <a:r>
              <a:rPr lang="en-US" sz="2000" b="0" i="0" u="none" strike="noStrike" kern="100" baseline="0" dirty="0"/>
              <a:t>Look for latest update wording changes in </a:t>
            </a:r>
            <a:r>
              <a:rPr lang="en-US" sz="2000" b="0" i="0" u="none" strike="noStrike" kern="100" baseline="0" dirty="0">
                <a:solidFill>
                  <a:schemeClr val="accent2"/>
                </a:solidFill>
              </a:rPr>
              <a:t>red type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CFDBD6-2E67-D1F2-E894-DEBB4FBC291A}"/>
              </a:ext>
            </a:extLst>
          </p:cNvPr>
          <p:cNvSpPr txBox="1"/>
          <p:nvPr/>
        </p:nvSpPr>
        <p:spPr>
          <a:xfrm>
            <a:off x="4584700" y="6604084"/>
            <a:ext cx="3022600" cy="2539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>
              <a:buClr>
                <a:srgbClr val="39683E"/>
              </a:buClr>
              <a:defRPr/>
            </a:pPr>
            <a:r>
              <a:rPr lang="en-US" sz="1050" kern="0" dirty="0">
                <a:solidFill>
                  <a:srgbClr val="000000"/>
                </a:solidFill>
                <a:latin typeface="Myriad Pro" panose="020B0503030403020204" pitchFamily="34" charset="0"/>
                <a:cs typeface="Arial" panose="020B0604020202020204" pitchFamily="34" charset="0"/>
              </a:rPr>
              <a:t>© 2026 Academy of Nutrition and Dietetics </a:t>
            </a:r>
          </a:p>
        </p:txBody>
      </p:sp>
      <p:pic>
        <p:nvPicPr>
          <p:cNvPr id="8" name="Audio 7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6ACD9F8D-FB54-618C-49B0-FAF17C47DA9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17D07582-838C-944A-BB89-5ED7EE386DE8}" label="" lang="en-us" r:embed="rId5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6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89761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843"/>
    </mc:Choice>
    <mc:Fallback xmlns="">
      <p:transition spd="slow" advTm="4084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AEB0384-778C-9D79-94CF-B8A09C9D9A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40093" y="-492443"/>
            <a:ext cx="11511814" cy="492443"/>
          </a:xfr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 dirty="0"/>
              <a:t>Thank you!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5BBF8F-82EC-42AE-8230-3A10BC642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00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2" imgH="272" progId="TCLayout.ActiveDocument.1">
                  <p:embed/>
                </p:oleObj>
              </mc:Choice>
              <mc:Fallback>
                <p:oleObj name="think-cell Slide" r:id="rId6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5BBF8F-82EC-42AE-8230-3A10BC642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69BCCA-CBA4-36EE-E85F-915569FA24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83637" y="3290500"/>
            <a:ext cx="4024725" cy="276999"/>
          </a:xfrm>
        </p:spPr>
        <p:txBody>
          <a:bodyPr/>
          <a:lstStyle/>
          <a:p>
            <a:pPr algn="ctr"/>
            <a:r>
              <a:rPr lang="en-US" dirty="0"/>
              <a:t>Questions? Email scope@eatright.org. </a:t>
            </a:r>
          </a:p>
        </p:txBody>
      </p:sp>
      <p:pic>
        <p:nvPicPr>
          <p:cNvPr id="6" name="Audio 5" descr="Audio speaker icon">
            <a:hlinkClick r:id="" action="ppaction://media"/>
            <a:extLst>
              <a:ext uri="{FF2B5EF4-FFF2-40B4-BE49-F238E27FC236}">
                <a16:creationId xmlns:a16="http://schemas.microsoft.com/office/drawing/2014/main" id="{D9762B5A-4A53-E72F-9E86-B2492206CF36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>
                  <p14:extLst>
                    <p:ext uri="{3AFAAA56-56D3-431D-BCD4-E75A35582382}">
                      <p173:tracksInfo xmlns:p173="http://schemas.microsoft.com/office/powerpoint/2017/3/main" displayLoc="slide">
                        <p173:trackLst>
                          <p173:track id="{421A8DA5-8448-DD46-9897-07E0BCE4AA2F}" label="" lang="en-us" r:embed="rId8"/>
                        </p173:trackLst>
                      </p173:tracksInfo>
                    </p:ext>
                  </p14:extLst>
                </p14:media>
              </p:ext>
            </p:extLst>
          </p:nvPr>
        </p:nvPicPr>
        <p:blipFill>
          <a:blip r:embed="rId9"/>
          <a:srcRect l="-118750" t="-118750" r="-118750" b="-118750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9343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218"/>
    </mc:Choice>
    <mc:Fallback xmlns="">
      <p:transition spd="slow" advTm="2221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4|24.4|0.5|3.9|4.4|0.6|7.6|1.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99">
      <a:dk1>
        <a:srgbClr val="000000"/>
      </a:dk1>
      <a:lt1>
        <a:sysClr val="window" lastClr="FFFFFF"/>
      </a:lt1>
      <a:dk2>
        <a:srgbClr val="746D6D"/>
      </a:dk2>
      <a:lt2>
        <a:srgbClr val="EFEEEE"/>
      </a:lt2>
      <a:accent1>
        <a:srgbClr val="39683E"/>
      </a:accent1>
      <a:accent2>
        <a:srgbClr val="CC2229"/>
      </a:accent2>
      <a:accent3>
        <a:srgbClr val="006998"/>
      </a:accent3>
      <a:accent4>
        <a:srgbClr val="C0D446"/>
      </a:accent4>
      <a:accent5>
        <a:srgbClr val="F6D530"/>
      </a:accent5>
      <a:accent6>
        <a:srgbClr val="422566"/>
      </a:accent6>
      <a:hlink>
        <a:srgbClr val="A27E2D"/>
      </a:hlink>
      <a:folHlink>
        <a:srgbClr val="954F72"/>
      </a:folHlink>
    </a:clrScheme>
    <a:fontScheme name="Custom 111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noFill/>
        </a:ln>
      </a:spPr>
      <a:bodyPr lIns="0" tIns="0" rIns="0" bIns="0" rtlCol="0" anchor="t" anchorCtr="0">
        <a:spAutoFit/>
      </a:bodyPr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Academy CDR PowerPoint Templates" id="{3D79AB26-A0C1-4A45-9B59-5E912CB49F9A}" vid="{A608F956-410D-2D4E-9B06-CFF3BB53AD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cademy CDR PowerPoint Templates</Template>
  <TotalTime>1892</TotalTime>
  <Words>997</Words>
  <Application>Microsoft Macintosh PowerPoint</Application>
  <PresentationFormat>Widescreen</PresentationFormat>
  <Paragraphs>76</Paragraphs>
  <Slides>8</Slides>
  <Notes>8</Notes>
  <HiddenSlides>0</HiddenSlides>
  <MMClips>8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Calibri</vt:lpstr>
      <vt:lpstr>Cambria</vt:lpstr>
      <vt:lpstr>Courier New</vt:lpstr>
      <vt:lpstr>Myriad Pro</vt:lpstr>
      <vt:lpstr>Myriad Pro Light</vt:lpstr>
      <vt:lpstr>Nunito Light</vt:lpstr>
      <vt:lpstr>Symbol</vt:lpstr>
      <vt:lpstr>Times New Roman</vt:lpstr>
      <vt:lpstr>Wingdings</vt:lpstr>
      <vt:lpstr>Office Theme</vt:lpstr>
      <vt:lpstr>think-cell Slide</vt:lpstr>
      <vt:lpstr>Ordering Privileges and Delegated Orders</vt:lpstr>
      <vt:lpstr>Table of contents </vt:lpstr>
      <vt:lpstr>Delegated Orders- LTC</vt:lpstr>
      <vt:lpstr>Hospital Ordering Privileges</vt:lpstr>
      <vt:lpstr>Implementation Steps </vt:lpstr>
      <vt:lpstr>How to Navigate</vt:lpstr>
      <vt:lpstr>How to Navigate- Key Tip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ana Buelsing Sowards</dc:creator>
  <cp:lastModifiedBy>Andrew Larson</cp:lastModifiedBy>
  <cp:revision>66</cp:revision>
  <dcterms:created xsi:type="dcterms:W3CDTF">2023-11-09T19:19:18Z</dcterms:created>
  <dcterms:modified xsi:type="dcterms:W3CDTF">2026-05-21T16:22:27Z</dcterms:modified>
</cp:coreProperties>
</file>